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8.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2.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536" r:id="rId2"/>
    <p:sldMasterId id="2147484639" r:id="rId3"/>
    <p:sldMasterId id="2147484659" r:id="rId4"/>
    <p:sldMasterId id="2147484704" r:id="rId5"/>
    <p:sldMasterId id="2147484723" r:id="rId6"/>
    <p:sldMasterId id="2147484737" r:id="rId7"/>
    <p:sldMasterId id="2147484751" r:id="rId8"/>
    <p:sldMasterId id="2147484781" r:id="rId9"/>
    <p:sldMasterId id="2147484827" r:id="rId10"/>
    <p:sldMasterId id="2147484876" r:id="rId11"/>
    <p:sldMasterId id="2147484893" r:id="rId12"/>
    <p:sldMasterId id="2147484984" r:id="rId13"/>
    <p:sldMasterId id="2147485005" r:id="rId14"/>
  </p:sldMasterIdLst>
  <p:notesMasterIdLst>
    <p:notesMasterId r:id="rId27"/>
  </p:notesMasterIdLst>
  <p:handoutMasterIdLst>
    <p:handoutMasterId r:id="rId28"/>
  </p:handoutMasterIdLst>
  <p:sldIdLst>
    <p:sldId id="348" r:id="rId15"/>
    <p:sldId id="343" r:id="rId16"/>
    <p:sldId id="1889" r:id="rId17"/>
    <p:sldId id="1890" r:id="rId18"/>
    <p:sldId id="421" r:id="rId19"/>
    <p:sldId id="422" r:id="rId20"/>
    <p:sldId id="468" r:id="rId21"/>
    <p:sldId id="423" r:id="rId22"/>
    <p:sldId id="425" r:id="rId23"/>
    <p:sldId id="461" r:id="rId24"/>
    <p:sldId id="462" r:id="rId25"/>
    <p:sldId id="318" r:id="rId2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A073DAE3-B461-442F-A3D3-6642BD875E45}">
          <p14:sldIdLst>
            <p14:sldId id="348"/>
            <p14:sldId id="343"/>
            <p14:sldId id="1889"/>
            <p14:sldId id="1890"/>
            <p14:sldId id="421"/>
            <p14:sldId id="422"/>
            <p14:sldId id="468"/>
            <p14:sldId id="423"/>
            <p14:sldId id="425"/>
            <p14:sldId id="461"/>
            <p14:sldId id="462"/>
            <p14:sldId id="31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CD9"/>
    <a:srgbClr val="008272"/>
    <a:srgbClr val="DEE8CF"/>
    <a:srgbClr val="FFFFFF"/>
    <a:srgbClr val="002050"/>
    <a:srgbClr val="353535"/>
    <a:srgbClr val="FF8C00"/>
    <a:srgbClr val="000000"/>
    <a:srgbClr val="0078D7"/>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63" y="171"/>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slide" Target="slides/slide7.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2/26/2019 11:5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2/26/2019 11:5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1531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11:53 PM</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61797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D4F34-344B-428B-9415-0A1AAB18A89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5667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220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8145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516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A86A8D-19DD-42A4-8183-50DDB0D7C0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206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11:5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876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918A9-D5E7-4A2B-B4FB-B4B00D24E99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2956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2019 11:5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8767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4.xml"/><Relationship Id="rId4" Type="http://schemas.openxmlformats.org/officeDocument/2006/relationships/image" Target="../media/image4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3ED679E-47FB-456E-82F4-1673412C3D63}" type="datetime1">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72331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27075E-A97D-4508-BCB1-35CF18B2A2E1}" type="datetime1">
              <a:rPr lang="en-US" smtClean="0">
                <a:solidFill>
                  <a:prstClr val="black">
                    <a:tint val="75000"/>
                  </a:prstClr>
                </a:solidFill>
              </a:rPr>
              <a:pPr/>
              <a:t>2/26/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27309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30" y="466302"/>
            <a:ext cx="4011087" cy="1632056"/>
          </a:xfrm>
        </p:spPr>
        <p:txBody>
          <a:bodyPr anchor="b"/>
          <a:lstStyle>
            <a:lvl1pPr>
              <a:defRPr sz="3289"/>
            </a:lvl1pPr>
          </a:lstStyle>
          <a:p>
            <a:r>
              <a:rPr lang="en-US"/>
              <a:t>Click to edit Master title style</a:t>
            </a:r>
            <a:endParaRPr lang="en-US" dirty="0"/>
          </a:p>
        </p:txBody>
      </p:sp>
      <p:sp>
        <p:nvSpPr>
          <p:cNvPr id="3" name="Content Placeholder 2"/>
          <p:cNvSpPr>
            <a:spLocks noGrp="1"/>
          </p:cNvSpPr>
          <p:nvPr>
            <p:ph idx="1"/>
          </p:nvPr>
        </p:nvSpPr>
        <p:spPr>
          <a:xfrm>
            <a:off x="5287122" y="1007088"/>
            <a:ext cx="6295965" cy="4970646"/>
          </a:xfrm>
        </p:spPr>
        <p:txBody>
          <a:bodyPr/>
          <a:lstStyle>
            <a:lvl1pPr>
              <a:defRPr sz="3289"/>
            </a:lvl1pPr>
            <a:lvl2pPr>
              <a:defRPr sz="2907"/>
            </a:lvl2pPr>
            <a:lvl3pPr>
              <a:defRPr sz="2448"/>
            </a:lvl3pPr>
            <a:lvl4pPr>
              <a:defRPr sz="2065"/>
            </a:lvl4pPr>
            <a:lvl5pPr>
              <a:defRPr sz="2065"/>
            </a:lvl5pPr>
            <a:lvl6pPr>
              <a:defRPr sz="2065"/>
            </a:lvl6pPr>
            <a:lvl7pPr>
              <a:defRPr sz="2065"/>
            </a:lvl7pPr>
            <a:lvl8pPr>
              <a:defRPr sz="2065"/>
            </a:lvl8pPr>
            <a:lvl9pPr>
              <a:defRPr sz="20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30" y="2098357"/>
            <a:ext cx="4011087" cy="3887467"/>
          </a:xfrm>
        </p:spPr>
        <p:txBody>
          <a:bodyPr/>
          <a:lstStyle>
            <a:lvl1pPr marL="0" indent="0">
              <a:buNone/>
              <a:defRPr sz="1606"/>
            </a:lvl1pPr>
            <a:lvl2pPr marL="466287" indent="0">
              <a:buNone/>
              <a:defRPr sz="1453"/>
            </a:lvl2pPr>
            <a:lvl3pPr marL="932569" indent="0">
              <a:buNone/>
              <a:defRPr sz="1224"/>
            </a:lvl3pPr>
            <a:lvl4pPr marL="1398854" indent="0">
              <a:buNone/>
              <a:defRPr sz="994"/>
            </a:lvl4pPr>
            <a:lvl5pPr marL="1865139" indent="0">
              <a:buNone/>
              <a:defRPr sz="994"/>
            </a:lvl5pPr>
            <a:lvl6pPr marL="2331423" indent="0">
              <a:buNone/>
              <a:defRPr sz="994"/>
            </a:lvl6pPr>
            <a:lvl7pPr marL="2797710" indent="0">
              <a:buNone/>
              <a:defRPr sz="994"/>
            </a:lvl7pPr>
            <a:lvl8pPr marL="3263994" indent="0">
              <a:buNone/>
              <a:defRPr sz="994"/>
            </a:lvl8pPr>
            <a:lvl9pPr marL="3730278" indent="0">
              <a:buNone/>
              <a:defRPr sz="994"/>
            </a:lvl9pPr>
          </a:lstStyle>
          <a:p>
            <a:pPr lvl="0"/>
            <a:r>
              <a:rPr lang="en-US"/>
              <a:t>Click to edit Master text styles</a:t>
            </a:r>
          </a:p>
        </p:txBody>
      </p:sp>
      <p:sp>
        <p:nvSpPr>
          <p:cNvPr id="5" name="Date Placeholder 4"/>
          <p:cNvSpPr>
            <a:spLocks noGrp="1"/>
          </p:cNvSpPr>
          <p:nvPr>
            <p:ph type="dt" sz="half" idx="10"/>
          </p:nvPr>
        </p:nvSpPr>
        <p:spPr/>
        <p:txBody>
          <a:bodyPr/>
          <a:lstStyle/>
          <a:p>
            <a:fld id="{70168086-FB4C-4CA7-A797-A0C9321B5A09}" type="datetime1">
              <a:rPr lang="en-US" smtClean="0">
                <a:solidFill>
                  <a:prstClr val="black">
                    <a:tint val="75000"/>
                  </a:prstClr>
                </a:solidFill>
              </a:rPr>
              <a:pPr/>
              <a:t>2/2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40659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30" y="466302"/>
            <a:ext cx="4011087" cy="1632056"/>
          </a:xfrm>
        </p:spPr>
        <p:txBody>
          <a:bodyPr anchor="b"/>
          <a:lstStyle>
            <a:lvl1pPr>
              <a:defRPr sz="3289"/>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8"/>
            <a:ext cx="6295965" cy="4970646"/>
          </a:xfrm>
        </p:spPr>
        <p:txBody>
          <a:bodyPr anchor="t"/>
          <a:lstStyle>
            <a:lvl1pPr marL="0" indent="0">
              <a:buNone/>
              <a:defRPr sz="3289"/>
            </a:lvl1pPr>
            <a:lvl2pPr marL="466287" indent="0">
              <a:buNone/>
              <a:defRPr sz="2907"/>
            </a:lvl2pPr>
            <a:lvl3pPr marL="932569" indent="0">
              <a:buNone/>
              <a:defRPr sz="2448"/>
            </a:lvl3pPr>
            <a:lvl4pPr marL="1398854" indent="0">
              <a:buNone/>
              <a:defRPr sz="2065"/>
            </a:lvl4pPr>
            <a:lvl5pPr marL="1865139" indent="0">
              <a:buNone/>
              <a:defRPr sz="2065"/>
            </a:lvl5pPr>
            <a:lvl6pPr marL="2331423" indent="0">
              <a:buNone/>
              <a:defRPr sz="2065"/>
            </a:lvl6pPr>
            <a:lvl7pPr marL="2797710" indent="0">
              <a:buNone/>
              <a:defRPr sz="2065"/>
            </a:lvl7pPr>
            <a:lvl8pPr marL="3263994" indent="0">
              <a:buNone/>
              <a:defRPr sz="2065"/>
            </a:lvl8pPr>
            <a:lvl9pPr marL="3730278" indent="0">
              <a:buNone/>
              <a:defRPr sz="2065"/>
            </a:lvl9pPr>
          </a:lstStyle>
          <a:p>
            <a:r>
              <a:rPr lang="en-US"/>
              <a:t>Click icon to add picture</a:t>
            </a:r>
            <a:endParaRPr lang="en-US" dirty="0"/>
          </a:p>
        </p:txBody>
      </p:sp>
      <p:sp>
        <p:nvSpPr>
          <p:cNvPr id="4" name="Text Placeholder 3"/>
          <p:cNvSpPr>
            <a:spLocks noGrp="1"/>
          </p:cNvSpPr>
          <p:nvPr>
            <p:ph type="body" sz="half" idx="2"/>
          </p:nvPr>
        </p:nvSpPr>
        <p:spPr>
          <a:xfrm>
            <a:off x="856630" y="2098357"/>
            <a:ext cx="4011087" cy="3887467"/>
          </a:xfrm>
        </p:spPr>
        <p:txBody>
          <a:bodyPr/>
          <a:lstStyle>
            <a:lvl1pPr marL="0" indent="0">
              <a:buNone/>
              <a:defRPr sz="1606"/>
            </a:lvl1pPr>
            <a:lvl2pPr marL="466287" indent="0">
              <a:buNone/>
              <a:defRPr sz="1453"/>
            </a:lvl2pPr>
            <a:lvl3pPr marL="932569" indent="0">
              <a:buNone/>
              <a:defRPr sz="1224"/>
            </a:lvl3pPr>
            <a:lvl4pPr marL="1398854" indent="0">
              <a:buNone/>
              <a:defRPr sz="994"/>
            </a:lvl4pPr>
            <a:lvl5pPr marL="1865139" indent="0">
              <a:buNone/>
              <a:defRPr sz="994"/>
            </a:lvl5pPr>
            <a:lvl6pPr marL="2331423" indent="0">
              <a:buNone/>
              <a:defRPr sz="994"/>
            </a:lvl6pPr>
            <a:lvl7pPr marL="2797710" indent="0">
              <a:buNone/>
              <a:defRPr sz="994"/>
            </a:lvl7pPr>
            <a:lvl8pPr marL="3263994" indent="0">
              <a:buNone/>
              <a:defRPr sz="994"/>
            </a:lvl8pPr>
            <a:lvl9pPr marL="3730278" indent="0">
              <a:buNone/>
              <a:defRPr sz="994"/>
            </a:lvl9pPr>
          </a:lstStyle>
          <a:p>
            <a:pPr lvl="0"/>
            <a:r>
              <a:rPr lang="en-US"/>
              <a:t>Click to edit Master text styles</a:t>
            </a:r>
          </a:p>
        </p:txBody>
      </p:sp>
      <p:sp>
        <p:nvSpPr>
          <p:cNvPr id="5" name="Date Placeholder 4"/>
          <p:cNvSpPr>
            <a:spLocks noGrp="1"/>
          </p:cNvSpPr>
          <p:nvPr>
            <p:ph type="dt" sz="half" idx="10"/>
          </p:nvPr>
        </p:nvSpPr>
        <p:spPr/>
        <p:txBody>
          <a:bodyPr/>
          <a:lstStyle/>
          <a:p>
            <a:fld id="{89ED7FDA-F61A-458C-8F96-24881AAD62BF}" type="datetime1">
              <a:rPr lang="en-US" smtClean="0">
                <a:solidFill>
                  <a:prstClr val="black">
                    <a:tint val="75000"/>
                  </a:prstClr>
                </a:solidFill>
              </a:rPr>
              <a:pPr/>
              <a:t>2/2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79126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7AB2A9-1813-4D50-95CD-2DE29202D6E1}" type="datetime1">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49761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5" y="372396"/>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11" y="372396"/>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F85186-3E4C-4E3D-80BB-A9ECE75799A4}" type="datetime1">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36721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Content NO TITLE">
    <p:spTree>
      <p:nvGrpSpPr>
        <p:cNvPr id="1" name=""/>
        <p:cNvGrpSpPr/>
        <p:nvPr/>
      </p:nvGrpSpPr>
      <p:grpSpPr>
        <a:xfrm>
          <a:off x="0" y="0"/>
          <a:ext cx="0" cy="0"/>
          <a:chOff x="0" y="0"/>
          <a:chExt cx="0" cy="0"/>
        </a:xfrm>
      </p:grpSpPr>
      <p:sp>
        <p:nvSpPr>
          <p:cNvPr id="7" name="Round Diagonal Corner Rectangle 6"/>
          <p:cNvSpPr/>
          <p:nvPr/>
        </p:nvSpPr>
        <p:spPr>
          <a:xfrm>
            <a:off x="207277" y="133235"/>
            <a:ext cx="12140369" cy="6572633"/>
          </a:xfrm>
          <a:prstGeom prst="round2DiagRect">
            <a:avLst>
              <a:gd name="adj1" fmla="val 2303"/>
              <a:gd name="adj2" fmla="val 0"/>
            </a:avLst>
          </a:prstGeom>
          <a:solidFill>
            <a:schemeClr val="tx1"/>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69945" tIns="34974" rIns="69945" bIns="34974" rtlCol="0" anchor="ctr"/>
          <a:lstStyle/>
          <a:p>
            <a:pPr algn="ctr" defTabSz="699443"/>
            <a:endParaRPr lang="en-US" sz="1836">
              <a:solidFill>
                <a:prstClr val="white"/>
              </a:solidFill>
            </a:endParaRPr>
          </a:p>
        </p:txBody>
      </p:sp>
      <p:sp>
        <p:nvSpPr>
          <p:cNvPr id="3" name="Content Placeholder 2"/>
          <p:cNvSpPr>
            <a:spLocks noGrp="1"/>
          </p:cNvSpPr>
          <p:nvPr>
            <p:ph idx="1"/>
          </p:nvPr>
        </p:nvSpPr>
        <p:spPr>
          <a:xfrm>
            <a:off x="207279" y="1465519"/>
            <a:ext cx="8076306" cy="5140421"/>
          </a:xfrm>
          <a:effectLst>
            <a:outerShdw blurRad="63500" dist="355600" dir="2700000" sx="182000" sy="182000" algn="tl" rotWithShape="0">
              <a:prstClr val="black">
                <a:alpha val="40000"/>
              </a:prstClr>
            </a:outerShdw>
          </a:effectLst>
        </p:spPr>
        <p:txBody>
          <a:bodyPr>
            <a:normAutofit/>
          </a:bodyPr>
          <a:lstStyle>
            <a:lvl1pPr marL="0" indent="0">
              <a:buFont typeface="Wingdings" pitchFamily="2" charset="2"/>
              <a:buNone/>
              <a:defRPr sz="2218">
                <a:solidFill>
                  <a:schemeClr val="bg1"/>
                </a:solidFill>
              </a:defRPr>
            </a:lvl1pPr>
            <a:lvl2pPr marL="233137" indent="-168377">
              <a:buClr>
                <a:schemeClr val="accent1"/>
              </a:buClr>
              <a:buFont typeface="Arial" pitchFamily="34" charset="0"/>
              <a:buChar char="•"/>
              <a:defRPr sz="1836">
                <a:solidFill>
                  <a:schemeClr val="bg1"/>
                </a:solidFill>
              </a:defRPr>
            </a:lvl2pPr>
            <a:lvl3pPr marL="466274" indent="-233137">
              <a:buClr>
                <a:schemeClr val="accent2"/>
              </a:buClr>
              <a:defRPr sz="1300">
                <a:solidFill>
                  <a:schemeClr val="bg1"/>
                </a:solidFill>
              </a:defRPr>
            </a:lvl3pPr>
            <a:lvl4pPr marL="699410" indent="-233137">
              <a:buClr>
                <a:schemeClr val="accent3"/>
              </a:buClr>
              <a:buFont typeface="Arial" pitchFamily="34" charset="0"/>
              <a:buChar char="•"/>
              <a:defRPr sz="1224">
                <a:solidFill>
                  <a:schemeClr val="bg1"/>
                </a:solidFill>
              </a:defRPr>
            </a:lvl4pPr>
            <a:lvl5pPr marL="932547" indent="-233137">
              <a:buClr>
                <a:schemeClr val="accent4"/>
              </a:buClr>
              <a:buFont typeface="Arial" pitchFamily="34" charset="0"/>
              <a:buChar char="•"/>
              <a:defRPr sz="122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233190" y="380033"/>
            <a:ext cx="8050397" cy="297219"/>
          </a:xfrm>
        </p:spPr>
        <p:txBody>
          <a:bodyPr>
            <a:noAutofit/>
          </a:bodyPr>
          <a:lstStyle>
            <a:lvl1pPr algn="l">
              <a:defRPr sz="3060" b="1">
                <a:solidFill>
                  <a:srgbClr val="800000"/>
                </a:solidFill>
                <a:effectLst/>
              </a:defRPr>
            </a:lvl1pPr>
          </a:lstStyle>
          <a:p>
            <a:r>
              <a:rPr lang="en-US" dirty="0"/>
              <a:t>CLICK TO EDIT MASTER TITLE STYLE</a:t>
            </a:r>
          </a:p>
        </p:txBody>
      </p:sp>
      <p:sp>
        <p:nvSpPr>
          <p:cNvPr id="2" name="Rectangle 1"/>
          <p:cNvSpPr/>
          <p:nvPr userDrawn="1"/>
        </p:nvSpPr>
        <p:spPr>
          <a:xfrm>
            <a:off x="8494564" y="122130"/>
            <a:ext cx="3853087" cy="6583735"/>
          </a:xfrm>
          <a:prstGeom prst="rect">
            <a:avLst/>
          </a:prstGeom>
          <a:solidFill>
            <a:srgbClr val="5C5D5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9945" tIns="34974" rIns="69945" bIns="34974" rtlCol="0" anchor="ctr"/>
          <a:lstStyle/>
          <a:p>
            <a:pPr algn="ctr" defTabSz="699443"/>
            <a:endParaRPr lang="en-US" sz="1300">
              <a:solidFill>
                <a:prstClr val="white"/>
              </a:solidFill>
            </a:endParaRPr>
          </a:p>
        </p:txBody>
      </p:sp>
    </p:spTree>
    <p:extLst>
      <p:ext uri="{BB962C8B-B14F-4D97-AF65-F5344CB8AC3E}">
        <p14:creationId xmlns:p14="http://schemas.microsoft.com/office/powerpoint/2010/main" val="35605439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7580" y="485801"/>
            <a:ext cx="1828800" cy="391754"/>
          </a:xfrm>
          <a:prstGeom prst="rect">
            <a:avLst/>
          </a:prstGeom>
        </p:spPr>
      </p:pic>
    </p:spTree>
    <p:extLst>
      <p:ext uri="{BB962C8B-B14F-4D97-AF65-F5344CB8AC3E}">
        <p14:creationId xmlns:p14="http://schemas.microsoft.com/office/powerpoint/2010/main" val="2324099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16400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587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271270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08689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66173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94226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039200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83660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6466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6" y="1"/>
            <a:ext cx="12426819" cy="6994524"/>
          </a:xfrm>
          <a:prstGeom prst="rect">
            <a:avLst/>
          </a:prstGeom>
        </p:spPr>
      </p:pic>
      <p:sp>
        <p:nvSpPr>
          <p:cNvPr id="18" name="Rectangle 17"/>
          <p:cNvSpPr/>
          <p:nvPr userDrawn="1"/>
        </p:nvSpPr>
        <p:spPr bwMode="gray">
          <a:xfrm>
            <a:off x="274639" y="2125663"/>
            <a:ext cx="7315200" cy="3657600"/>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92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2" y="3957639"/>
            <a:ext cx="7316788" cy="1825625"/>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332" y="480504"/>
            <a:ext cx="1552931" cy="332659"/>
          </a:xfrm>
          <a:prstGeom prst="rect">
            <a:avLst/>
          </a:prstGeom>
        </p:spPr>
      </p:pic>
    </p:spTree>
    <p:extLst>
      <p:ext uri="{BB962C8B-B14F-4D97-AF65-F5344CB8AC3E}">
        <p14:creationId xmlns:p14="http://schemas.microsoft.com/office/powerpoint/2010/main" val="2848906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4749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4969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8"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3" y="3040065"/>
            <a:ext cx="9143937" cy="730183"/>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8"/>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581325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t="15474" r="4892" b="4280"/>
          <a:stretch/>
        </p:blipFill>
        <p:spPr>
          <a:xfrm>
            <a:off x="0" y="1"/>
            <a:ext cx="12436475" cy="6995517"/>
          </a:xfrm>
          <a:prstGeom prst="rect">
            <a:avLst/>
          </a:prstGeom>
        </p:spPr>
      </p:pic>
      <p:sp>
        <p:nvSpPr>
          <p:cNvPr id="4" name="Rectangle 3"/>
          <p:cNvSpPr/>
          <p:nvPr/>
        </p:nvSpPr>
        <p:spPr bwMode="auto">
          <a:xfrm>
            <a:off x="274702" y="2857149"/>
            <a:ext cx="64008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lvl="0"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4" y="2857149"/>
            <a:ext cx="6400736" cy="1828800"/>
          </a:xfrm>
          <a:noFill/>
        </p:spPr>
        <p:txBody>
          <a:bodyPr lIns="146304" tIns="91440" rIns="146304" bIns="91440" anchor="t" anchorCtr="0"/>
          <a:lstStyle>
            <a:lvl1pPr>
              <a:defRPr sz="4798" spc="-100" baseline="0">
                <a:gradFill>
                  <a:gsLst>
                    <a:gs pos="6369">
                      <a:srgbClr val="FFFFFF"/>
                    </a:gs>
                    <a:gs pos="18471">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692436"/>
            <a:ext cx="6402388" cy="664797"/>
          </a:xfrm>
        </p:spPr>
        <p:txBody>
          <a:bodyPr wrap="square" lIns="164592" tIns="109728" rIns="164592" bIns="109728">
            <a:spAutoFit/>
          </a:bodyPr>
          <a:lstStyle>
            <a:lvl1pPr marL="0" indent="0">
              <a:spcBef>
                <a:spcPts val="0"/>
              </a:spcBef>
              <a:buNone/>
              <a:defRPr sz="3198">
                <a:gradFill>
                  <a:gsLst>
                    <a:gs pos="6369">
                      <a:srgbClr val="FFFFFF"/>
                    </a:gs>
                    <a:gs pos="18471">
                      <a:srgbClr val="FFFFFF"/>
                    </a:gs>
                  </a:gsLst>
                  <a:lin ang="5400000" scaled="0"/>
                </a:gradFill>
                <a:latin typeface="+mn-lt"/>
              </a:defRPr>
            </a:lvl1pPr>
          </a:lstStyle>
          <a:p>
            <a:pPr lvl="0"/>
            <a:r>
              <a:rPr lang="en-US" dirty="0"/>
              <a:t>Speaker name</a:t>
            </a:r>
          </a:p>
        </p:txBody>
      </p:sp>
      <p:pic>
        <p:nvPicPr>
          <p:cNvPr id="14" name="Picture 13"/>
          <p:cNvPicPr>
            <a:picLocks noChangeAspect="1"/>
          </p:cNvPicPr>
          <p:nvPr/>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16926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348359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80"/>
            <a:ext cx="4937760" cy="1835285"/>
          </a:xfrm>
          <a:noFill/>
        </p:spPr>
        <p:txBody>
          <a:bodyPr lIns="146304" tIns="91440" rIns="146304" bIns="91440" anchor="t" anchorCtr="0"/>
          <a:lstStyle>
            <a:lvl1pPr>
              <a:defRPr sz="4798"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5"/>
            <a:ext cx="4937760" cy="731528"/>
          </a:xfrm>
        </p:spPr>
        <p:txBody>
          <a:bodyPr lIns="164592" tIns="109728" rIns="164592" bIns="109728">
            <a:noAutofit/>
          </a:bodyPr>
          <a:lstStyle>
            <a:lvl1pPr marL="0" indent="0">
              <a:spcBef>
                <a:spcPts val="0"/>
              </a:spcBef>
              <a:buNone/>
              <a:defRPr lang="en-US" sz="319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38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p:nvPicPr>
        <p:blipFill>
          <a:blip r:embed="rId2"/>
          <a:stretch>
            <a:fillRect/>
          </a:stretch>
        </p:blipFill>
        <p:spPr bwMode="black">
          <a:xfrm>
            <a:off x="457200" y="479425"/>
            <a:ext cx="1483418" cy="310896"/>
          </a:xfrm>
          <a:prstGeom prst="rect">
            <a:avLst/>
          </a:prstGeom>
        </p:spPr>
      </p:pic>
      <p:pic>
        <p:nvPicPr>
          <p:cNvPr id="7" name="Picture 6"/>
          <p:cNvPicPr>
            <a:picLocks noChangeAspect="1"/>
          </p:cNvPicPr>
          <p:nvPr/>
        </p:nvPicPr>
        <p:blipFill rotWithShape="1">
          <a:blip r:embed="rId3"/>
          <a:srcRect l="13067" r="20267"/>
          <a:stretch/>
        </p:blipFill>
        <p:spPr>
          <a:xfrm>
            <a:off x="5441315" y="2"/>
            <a:ext cx="6995160" cy="6995160"/>
          </a:xfrm>
          <a:prstGeom prst="rect">
            <a:avLst/>
          </a:prstGeom>
        </p:spPr>
      </p:pic>
    </p:spTree>
    <p:extLst>
      <p:ext uri="{BB962C8B-B14F-4D97-AF65-F5344CB8AC3E}">
        <p14:creationId xmlns:p14="http://schemas.microsoft.com/office/powerpoint/2010/main" val="3390038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11888787" cy="2308324"/>
          </a:xfrm>
        </p:spPr>
        <p:txBody>
          <a:bodyPr>
            <a:spAutoFit/>
          </a:bodyPr>
          <a:lstStyle>
            <a:lvl1pPr marL="0" indent="0">
              <a:buNone/>
              <a:defRPr/>
            </a:lvl1pPr>
            <a:lvl2pPr marL="228513" indent="0">
              <a:buNone/>
              <a:defRPr/>
            </a:lvl2pPr>
            <a:lvl3pPr marL="457024"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676597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4" y="1211288"/>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44182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490" indent="0">
              <a:buFont typeface="Wingdings" panose="05000000000000000000" pitchFamily="2" charset="2"/>
              <a:buNone/>
              <a:defRPr sz="2400" b="0"/>
            </a:lvl2pPr>
            <a:lvl3pPr marL="450676" indent="0">
              <a:buFont typeface="Wingdings" panose="05000000000000000000" pitchFamily="2" charset="2"/>
              <a:buNone/>
              <a:tabLst/>
              <a:defRPr sz="2200" b="0"/>
            </a:lvl3pPr>
            <a:lvl4pPr marL="652211" indent="0">
              <a:buFont typeface="Wingdings" panose="05000000000000000000" pitchFamily="2" charset="2"/>
              <a:buNone/>
              <a:defRPr sz="2200" b="0"/>
            </a:lvl4pPr>
            <a:lvl5pPr marL="853747"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49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67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211"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747"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152" marR="0" lvl="0" indent="-514152" algn="l" defTabSz="932384" rtl="0" eaLnBrk="1" fontAlgn="auto" latinLnBrk="0" hangingPunct="1">
              <a:lnSpc>
                <a:spcPct val="90000"/>
              </a:lnSpc>
              <a:spcBef>
                <a:spcPts val="1224"/>
              </a:spcBef>
              <a:spcAft>
                <a:spcPts val="0"/>
              </a:spcAft>
              <a:buClr>
                <a:schemeClr val="tx1"/>
              </a:buClr>
              <a:buSzPct val="90000"/>
              <a:tabLst/>
            </a:pPr>
            <a:r>
              <a:rPr lang="en-US"/>
              <a:t>Edit Master text styles</a:t>
            </a:r>
          </a:p>
          <a:p>
            <a:pPr marL="514152" marR="0" lvl="1" indent="-514152" algn="l" defTabSz="932384" rtl="0" eaLnBrk="1" fontAlgn="auto" latinLnBrk="0" hangingPunct="1">
              <a:lnSpc>
                <a:spcPct val="90000"/>
              </a:lnSpc>
              <a:spcBef>
                <a:spcPts val="1224"/>
              </a:spcBef>
              <a:spcAft>
                <a:spcPts val="0"/>
              </a:spcAft>
              <a:buClr>
                <a:schemeClr val="tx1"/>
              </a:buClr>
              <a:buSzPct val="90000"/>
              <a:tabLst/>
            </a:pPr>
            <a:r>
              <a:rPr lang="en-US"/>
              <a:t>Second level</a:t>
            </a:r>
          </a:p>
          <a:p>
            <a:pPr marL="514152" marR="0" lvl="2" indent="-514152" algn="l" defTabSz="932384" rtl="0" eaLnBrk="1" fontAlgn="auto" latinLnBrk="0" hangingPunct="1">
              <a:lnSpc>
                <a:spcPct val="90000"/>
              </a:lnSpc>
              <a:spcBef>
                <a:spcPts val="1224"/>
              </a:spcBef>
              <a:spcAft>
                <a:spcPts val="0"/>
              </a:spcAft>
              <a:buClr>
                <a:schemeClr val="tx1"/>
              </a:buClr>
              <a:buSzPct val="90000"/>
              <a:tabLst/>
            </a:pPr>
            <a:r>
              <a:rPr lang="en-US"/>
              <a:t>Third level</a:t>
            </a:r>
          </a:p>
          <a:p>
            <a:pPr marL="514152" marR="0" lvl="3" indent="-514152" algn="l" defTabSz="932384" rtl="0" eaLnBrk="1" fontAlgn="auto" latinLnBrk="0" hangingPunct="1">
              <a:lnSpc>
                <a:spcPct val="90000"/>
              </a:lnSpc>
              <a:spcBef>
                <a:spcPts val="1224"/>
              </a:spcBef>
              <a:spcAft>
                <a:spcPts val="0"/>
              </a:spcAft>
              <a:buClr>
                <a:schemeClr val="tx1"/>
              </a:buClr>
              <a:buSzPct val="90000"/>
              <a:tabLst/>
            </a:pPr>
            <a:r>
              <a:rPr lang="en-US"/>
              <a:t>Fourth level</a:t>
            </a:r>
          </a:p>
          <a:p>
            <a:pPr marL="514152" marR="0" lvl="4" indent="-514152" algn="l" defTabSz="932384"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9199249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287"/>
            <a:ext cx="5486399" cy="2157514"/>
          </a:xfrm>
        </p:spPr>
        <p:txBody>
          <a:bodyPr wrap="square">
            <a:spAutoFit/>
          </a:bodyPr>
          <a:lstStyle>
            <a:lvl1pPr marL="231686" indent="-231686">
              <a:spcBef>
                <a:spcPts val="1224"/>
              </a:spcBef>
              <a:buClr>
                <a:schemeClr val="tx1"/>
              </a:buClr>
              <a:buFont typeface="Wingdings" panose="05000000000000000000" pitchFamily="2" charset="2"/>
              <a:buChar char=""/>
              <a:defRPr sz="3000" b="0">
                <a:latin typeface="+mn-lt"/>
              </a:defRPr>
            </a:lvl1pPr>
            <a:lvl2pPr marL="426874" indent="-171384">
              <a:buFont typeface="Wingdings" panose="05000000000000000000" pitchFamily="2" charset="2"/>
              <a:buChar char=""/>
              <a:defRPr sz="2400" b="0"/>
            </a:lvl2pPr>
            <a:lvl3pPr marL="639517" indent="-188840">
              <a:buFont typeface="Wingdings" panose="05000000000000000000" pitchFamily="2" charset="2"/>
              <a:buChar char=""/>
              <a:tabLst/>
              <a:defRPr sz="2200" b="0"/>
            </a:lvl3pPr>
            <a:lvl4pPr marL="828357" indent="-176146">
              <a:buFont typeface="Wingdings" panose="05000000000000000000" pitchFamily="2" charset="2"/>
              <a:buChar char=""/>
              <a:defRPr sz="2200" b="0"/>
            </a:lvl4pPr>
            <a:lvl5pPr marL="1023544" indent="-169798">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9"/>
            <a:ext cx="5486399" cy="2511229"/>
          </a:xfrm>
        </p:spPr>
        <p:txBody>
          <a:bodyPr wrap="square">
            <a:spAutoFit/>
          </a:bodyPr>
          <a:lstStyle>
            <a:lvl1pPr marL="287227" indent="-287227">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258" indent="-342768">
              <a:defRPr lang="en-US" sz="2400" b="0" kern="1200" spc="0" baseline="0" dirty="0">
                <a:gradFill>
                  <a:gsLst>
                    <a:gs pos="1250">
                      <a:schemeClr val="tx1"/>
                    </a:gs>
                    <a:gs pos="100000">
                      <a:schemeClr val="tx1"/>
                    </a:gs>
                  </a:gsLst>
                  <a:lin ang="5400000" scaled="0"/>
                </a:gradFill>
                <a:latin typeface="+mn-lt"/>
                <a:ea typeface="+mn-ea"/>
                <a:cs typeface="+mn-cs"/>
              </a:defRPr>
            </a:lvl2pPr>
            <a:lvl3pPr marL="793444" indent="-34276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4979" indent="-342768">
              <a:defRPr lang="en-US" sz="2200" b="0" kern="1200" spc="0" baseline="0" dirty="0">
                <a:gradFill>
                  <a:gsLst>
                    <a:gs pos="1250">
                      <a:schemeClr val="tx1"/>
                    </a:gs>
                    <a:gs pos="100000">
                      <a:schemeClr val="tx1"/>
                    </a:gs>
                  </a:gsLst>
                  <a:lin ang="5400000" scaled="0"/>
                </a:gradFill>
                <a:latin typeface="+mn-lt"/>
                <a:ea typeface="+mn-ea"/>
                <a:cs typeface="+mn-cs"/>
              </a:defRPr>
            </a:lvl4pPr>
            <a:lvl5pPr marL="1196516" indent="-34276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686" marR="0" lvl="0"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686" marR="0" lvl="1"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686" marR="0" lvl="2"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686" marR="0" lvl="3"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686" marR="0" lvl="4" indent="-231686" algn="l" defTabSz="93238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2659524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028273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17676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72794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678564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1986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8"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63448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48602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733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2270177"/>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567024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154453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972887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38" y="2125664"/>
            <a:ext cx="6402388" cy="1828800"/>
          </a:xfrm>
          <a:noFill/>
        </p:spPr>
        <p:txBody>
          <a:bodyPr lIns="146304" tIns="91440" rIns="146304" bIns="91440" anchor="t" anchorCtr="0"/>
          <a:lstStyle>
            <a:lvl1pPr>
              <a:defRPr sz="5398"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5"/>
            <a:ext cx="6402388" cy="1825625"/>
          </a:xfrm>
        </p:spPr>
        <p:txBody>
          <a:bodyPr tIns="109728" bIns="109728">
            <a:noAutofit/>
          </a:bodyPr>
          <a:lstStyle>
            <a:lvl1pPr marL="0" indent="0">
              <a:spcBef>
                <a:spcPts val="0"/>
              </a:spcBef>
              <a:buNone/>
              <a:defRPr sz="3198">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40133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3" y="1476623"/>
            <a:ext cx="1137553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942927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
            <a:ext cx="12436475" cy="6995517"/>
          </a:xfrm>
          <a:prstGeom prst="rect">
            <a:avLst/>
          </a:prstGeom>
        </p:spPr>
      </p:pic>
    </p:spTree>
    <p:extLst>
      <p:ext uri="{BB962C8B-B14F-4D97-AF65-F5344CB8AC3E}">
        <p14:creationId xmlns:p14="http://schemas.microsoft.com/office/powerpoint/2010/main" val="281155412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9" y="5897245"/>
            <a:ext cx="7197633" cy="1097280"/>
          </a:xfrm>
          <a:prstGeom prst="rect">
            <a:avLst/>
          </a:prstGeom>
        </p:spPr>
      </p:pic>
    </p:spTree>
    <p:extLst>
      <p:ext uri="{BB962C8B-B14F-4D97-AF65-F5344CB8AC3E}">
        <p14:creationId xmlns:p14="http://schemas.microsoft.com/office/powerpoint/2010/main" val="291905903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01420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0171B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3408" tIns="89631" rIns="143408" bIns="89631" anchor="t" anchorCtr="0"/>
          <a:lstStyle>
            <a:lvl1pPr>
              <a:defRPr sz="6015"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9143937" cy="1828007"/>
          </a:xfrm>
          <a:noFill/>
        </p:spPr>
        <p:txBody>
          <a:bodyPr lIns="179261" tIns="143408" rIns="179261" bIns="143408">
            <a:noAutofit/>
          </a:bodyPr>
          <a:lstStyle>
            <a:lvl1pPr marL="0" indent="0">
              <a:spcBef>
                <a:spcPts val="0"/>
              </a:spcBef>
              <a:buNone/>
              <a:defRPr sz="357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a:xfrm>
            <a:off x="9075833" y="6399062"/>
            <a:ext cx="2798207" cy="372394"/>
          </a:xfrm>
          <a:prstGeom prst="rect">
            <a:avLst/>
          </a:prstGeom>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7" y="479775"/>
            <a:ext cx="1639084" cy="359162"/>
          </a:xfrm>
          <a:prstGeom prst="rect">
            <a:avLst/>
          </a:prstGeom>
        </p:spPr>
      </p:pic>
    </p:spTree>
    <p:extLst>
      <p:ext uri="{BB962C8B-B14F-4D97-AF65-F5344CB8AC3E}">
        <p14:creationId xmlns:p14="http://schemas.microsoft.com/office/powerpoint/2010/main" val="1393965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23081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08600917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3"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5746145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60595" y="3139445"/>
            <a:ext cx="3288506" cy="704445"/>
          </a:xfrm>
          <a:prstGeom prst="rect">
            <a:avLst/>
          </a:prstGeom>
        </p:spPr>
      </p:pic>
      <p:sp>
        <p:nvSpPr>
          <p:cNvPr id="4" name="Text Box 3"/>
          <p:cNvSpPr txBox="1">
            <a:spLocks noChangeArrowheads="1"/>
          </p:cNvSpPr>
          <p:nvPr userDrawn="1"/>
        </p:nvSpPr>
        <p:spPr bwMode="blackWhite">
          <a:xfrm>
            <a:off x="273051" y="6079034"/>
            <a:ext cx="10974388" cy="625023"/>
          </a:xfrm>
          <a:prstGeom prst="rect">
            <a:avLst/>
          </a:prstGeom>
        </p:spPr>
        <p:txBody>
          <a:bodyPr vert="horz" wrap="square" lIns="182828" tIns="146262" rIns="182828" bIns="146262" numCol="1" anchor="t" anchorCtr="0" compatLnSpc="1">
            <a:prstTxWarp prst="textNoShape">
              <a:avLst/>
            </a:prstTxWarp>
            <a:spAutoFit/>
          </a:bodyPr>
          <a:lstStyle/>
          <a:p>
            <a:pPr defTabSz="931932" eaLnBrk="0" fontAlgn="base" hangingPunct="0"/>
            <a:r>
              <a:rPr lang="en-US" sz="700"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31932" eaLnBrk="0" fontAlgn="base" hangingPunct="0"/>
            <a:r>
              <a:rPr lang="en-US" sz="700"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4175522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502315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3"/>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2" y="443335"/>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9" y="1441923"/>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6"/>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06969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4"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9"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6"/>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2" y="443335"/>
            <a:ext cx="2133131" cy="458258"/>
          </a:xfrm>
          <a:prstGeom prst="rect">
            <a:avLst/>
          </a:prstGeom>
        </p:spPr>
      </p:pic>
    </p:spTree>
    <p:extLst>
      <p:ext uri="{BB962C8B-B14F-4D97-AF65-F5344CB8AC3E}">
        <p14:creationId xmlns:p14="http://schemas.microsoft.com/office/powerpoint/2010/main" val="37513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8579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8068344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0458569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0284625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1034787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12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4"/>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35600763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40741215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9461311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6838330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41229149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4595463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75303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710381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699906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29880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92354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32538538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2"/>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13935491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3"/>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3885814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4"/>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23680210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67759"/>
            <a:ext cx="7667087" cy="922288"/>
          </a:xfrm>
        </p:spPr>
        <p:txBody>
          <a:bodyPr lIns="393192" bIns="91440"/>
          <a:lstStyle>
            <a:lvl1pPr marL="0" indent="0">
              <a:buNone/>
              <a:defRPr>
                <a:solidFill>
                  <a:schemeClr val="accent5"/>
                </a:solidFill>
              </a:defRPr>
            </a:lvl1pPr>
            <a:lvl2pPr marL="466120" indent="0">
              <a:buNone/>
              <a:defRPr/>
            </a:lvl2pPr>
          </a:lstStyle>
          <a:p>
            <a:pPr lvl="0"/>
            <a:r>
              <a:rPr lang="en-US" dirty="0"/>
              <a:t>Subtitle</a:t>
            </a:r>
          </a:p>
        </p:txBody>
      </p:sp>
    </p:spTree>
    <p:extLst>
      <p:ext uri="{BB962C8B-B14F-4D97-AF65-F5344CB8AC3E}">
        <p14:creationId xmlns:p14="http://schemas.microsoft.com/office/powerpoint/2010/main" val="27719534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3"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2855923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44692893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9229536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3349151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3" y="3"/>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3" y="2581884"/>
            <a:ext cx="4183177" cy="978967"/>
          </a:xfrm>
        </p:spPr>
        <p:txBody>
          <a:bodyPr lIns="393192" rIns="393192" bIns="91440"/>
          <a:lstStyle>
            <a:lvl1pPr marL="0" indent="0">
              <a:buNone/>
              <a:defRPr>
                <a:solidFill>
                  <a:schemeClr val="bg1"/>
                </a:solidFill>
              </a:defRPr>
            </a:lvl1pPr>
            <a:lvl2pPr marL="466120" indent="0">
              <a:buNone/>
              <a:defRPr/>
            </a:lvl2pPr>
          </a:lstStyle>
          <a:p>
            <a:pPr lvl="0"/>
            <a:r>
              <a:rPr lang="en-US" dirty="0"/>
              <a:t>Subtitle</a:t>
            </a:r>
          </a:p>
        </p:txBody>
      </p:sp>
      <p:sp>
        <p:nvSpPr>
          <p:cNvPr id="9" name="Text Placeholder 2"/>
          <p:cNvSpPr>
            <a:spLocks noGrp="1"/>
          </p:cNvSpPr>
          <p:nvPr>
            <p:ph type="body" sz="quarter" idx="12" hasCustomPrompt="1"/>
          </p:nvPr>
        </p:nvSpPr>
        <p:spPr>
          <a:xfrm>
            <a:off x="3"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136983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3839962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257881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938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64078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4"/>
            <a:ext cx="11581467" cy="3127489"/>
          </a:xfrm>
        </p:spPr>
        <p:txBody>
          <a:bodyPr lIns="393192" anchor="t" anchorCtr="0">
            <a:normAutofit/>
          </a:bodyPr>
          <a:lstStyle>
            <a:lvl1pPr>
              <a:defRPr sz="672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080071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866028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17547911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6876546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37690596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1" y="3207652"/>
            <a:ext cx="3354447" cy="718469"/>
          </a:xfrm>
          <a:prstGeom prst="rect">
            <a:avLst/>
          </a:prstGeom>
        </p:spPr>
      </p:pic>
    </p:spTree>
    <p:extLst>
      <p:ext uri="{BB962C8B-B14F-4D97-AF65-F5344CB8AC3E}">
        <p14:creationId xmlns:p14="http://schemas.microsoft.com/office/powerpoint/2010/main" val="25581302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7"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9143937" cy="1828007"/>
          </a:xfrm>
          <a:noFill/>
        </p:spPr>
        <p:txBody>
          <a:bodyPr lIns="182880" tIns="146304" rIns="182880" bIns="146304">
            <a:noAutofit/>
          </a:bodyPr>
          <a:lstStyle>
            <a:lvl1pPr marL="0" indent="0">
              <a:spcBef>
                <a:spcPts val="0"/>
              </a:spcBef>
              <a:buNone/>
              <a:defRPr sz="359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7" y="479775"/>
            <a:ext cx="1639084" cy="359162"/>
          </a:xfrm>
          <a:prstGeom prst="rect">
            <a:avLst/>
          </a:prstGeom>
        </p:spPr>
      </p:pic>
    </p:spTree>
    <p:extLst>
      <p:ext uri="{BB962C8B-B14F-4D97-AF65-F5344CB8AC3E}">
        <p14:creationId xmlns:p14="http://schemas.microsoft.com/office/powerpoint/2010/main" val="1417135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8"/>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66690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8"/>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928493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770560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1" y="6482892"/>
            <a:ext cx="2798207" cy="372394"/>
          </a:xfrm>
          <a:prstGeom prst="rect">
            <a:avLst/>
          </a:prstGeom>
        </p:spPr>
        <p:txBody>
          <a:bodyPr/>
          <a:lstStyle/>
          <a:p>
            <a:fld id="{8713FE0B-90A8-4522-911E-44EDD0F8888D}" type="datetimeFigureOut">
              <a:rPr lang="en-US" smtClean="0"/>
              <a:t>2/26/2019</a:t>
            </a:fld>
            <a:endParaRPr lang="en-US"/>
          </a:p>
        </p:txBody>
      </p:sp>
      <p:sp>
        <p:nvSpPr>
          <p:cNvPr id="6" name="Footer Placeholder 5"/>
          <p:cNvSpPr>
            <a:spLocks noGrp="1"/>
          </p:cNvSpPr>
          <p:nvPr>
            <p:ph type="ftr" sz="quarter" idx="11"/>
          </p:nvPr>
        </p:nvSpPr>
        <p:spPr>
          <a:xfrm>
            <a:off x="4119583" y="6482892"/>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2"/>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38691727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59263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46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3366" cy="6994525"/>
          </a:xfrm>
          <a:prstGeom prst="rect">
            <a:avLst/>
          </a:prstGeom>
        </p:spPr>
      </p:pic>
      <p:sp>
        <p:nvSpPr>
          <p:cNvPr id="15" name="Rectangle 14"/>
          <p:cNvSpPr/>
          <p:nvPr userDrawn="1"/>
        </p:nvSpPr>
        <p:spPr>
          <a:xfrm flipH="1">
            <a:off x="0" y="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0" y="2211694"/>
            <a:ext cx="6665919" cy="3804892"/>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9532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32203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933816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316898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6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88291" y="3162108"/>
            <a:ext cx="3284107" cy="703504"/>
          </a:xfrm>
          <a:prstGeom prst="rect">
            <a:avLst/>
          </a:prstGeom>
        </p:spPr>
      </p:pic>
    </p:spTree>
    <p:extLst>
      <p:ext uri="{BB962C8B-B14F-4D97-AF65-F5344CB8AC3E}">
        <p14:creationId xmlns:p14="http://schemas.microsoft.com/office/powerpoint/2010/main" val="22892377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65138" y="296897"/>
            <a:ext cx="11506200" cy="554004"/>
          </a:xfrm>
        </p:spPr>
        <p:txBody>
          <a:bodyPr lIns="0" tIns="0" rIns="0" bIns="0" anchor="t" anchorCtr="0"/>
          <a:lstStyle>
            <a:lvl1pPr>
              <a:defRPr sz="5199">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65138" y="981598"/>
            <a:ext cx="8328026" cy="332399"/>
          </a:xfrm>
        </p:spPr>
        <p:txBody>
          <a:bodyPr lIns="0" tIns="0" rIns="0" bIns="0"/>
          <a:lstStyle>
            <a:lvl1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972039" y="1715321"/>
            <a:ext cx="9959790" cy="6050713"/>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41880407"/>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13403" b="2204"/>
          <a:stretch/>
        </p:blipFill>
        <p:spPr>
          <a:xfrm>
            <a:off x="-1" y="0"/>
            <a:ext cx="12436475" cy="6995517"/>
          </a:xfrm>
          <a:prstGeom prst="rect">
            <a:avLst/>
          </a:prstGeom>
        </p:spPr>
      </p:pic>
      <p:sp>
        <p:nvSpPr>
          <p:cNvPr id="4" name="Rectangle 3"/>
          <p:cNvSpPr/>
          <p:nvPr userDrawn="1"/>
        </p:nvSpPr>
        <p:spPr bwMode="auto">
          <a:xfrm>
            <a:off x="274702" y="2119177"/>
            <a:ext cx="6400800" cy="3657600"/>
          </a:xfrm>
          <a:prstGeom prst="rect">
            <a:avLst/>
          </a:prstGeom>
          <a:solidFill>
            <a:srgbClr val="002050">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88535">
                      <a:srgbClr val="FFFFFF"/>
                    </a:gs>
                    <a:gs pos="66879">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88535">
                      <a:srgbClr val="FFFFFF"/>
                    </a:gs>
                    <a:gs pos="66879">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2"/>
            <a:ext cx="1005841" cy="195077"/>
          </a:xfrm>
          <a:prstGeom prst="rect">
            <a:avLst/>
          </a:prstGeom>
        </p:spPr>
      </p:pic>
      <p:sp>
        <p:nvSpPr>
          <p:cNvPr id="7" name="Rectangle 6"/>
          <p:cNvSpPr/>
          <p:nvPr userDrawn="1"/>
        </p:nvSpPr>
        <p:spPr bwMode="auto">
          <a:xfrm>
            <a:off x="457201"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140284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5" name="Rectangle 4"/>
          <p:cNvSpPr/>
          <p:nvPr userDrawn="1"/>
        </p:nvSpPr>
        <p:spPr bwMode="auto">
          <a:xfrm>
            <a:off x="9881389" y="101285"/>
            <a:ext cx="2163890" cy="104029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71399" y="6378083"/>
            <a:ext cx="2163890" cy="56227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56694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73630" y="2697705"/>
            <a:ext cx="6241507" cy="1329595"/>
          </a:xfrm>
        </p:spPr>
        <p:txBody>
          <a:bodyPr/>
          <a:lstStyle>
            <a:lvl1pPr algn="l" defTabSz="932563" rtl="0" eaLnBrk="1" latinLnBrk="0" hangingPunct="1">
              <a:lnSpc>
                <a:spcPct val="90000"/>
              </a:lnSpc>
              <a:spcBef>
                <a:spcPct val="0"/>
              </a:spcBef>
              <a:buNone/>
              <a:defRPr lang="en-US" sz="4799" b="0" kern="1200" cap="none" spc="-150"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2612541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32EBA6-D9FF-4AC1-B476-2F5CB617830E}" type="datetimeFigureOut">
              <a:rPr lang="en-US" smtClean="0"/>
              <a:t>2/2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E2E307-0DF7-4F15-A4F1-630E36B834ED}" type="slidenum">
              <a:rPr lang="en-US" smtClean="0"/>
              <a:t>‹#›</a:t>
            </a:fld>
            <a:endParaRPr lang="en-US"/>
          </a:p>
        </p:txBody>
      </p:sp>
    </p:spTree>
    <p:extLst>
      <p:ext uri="{BB962C8B-B14F-4D97-AF65-F5344CB8AC3E}">
        <p14:creationId xmlns:p14="http://schemas.microsoft.com/office/powerpoint/2010/main" val="27081135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852482" y="6030463"/>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42987" y="662655"/>
            <a:ext cx="10461592" cy="5205888"/>
          </a:xfrm>
          <a:prstGeom prst="rect">
            <a:avLst/>
          </a:prstGeom>
        </p:spPr>
      </p:pic>
    </p:spTree>
    <p:extLst>
      <p:ext uri="{BB962C8B-B14F-4D97-AF65-F5344CB8AC3E}">
        <p14:creationId xmlns:p14="http://schemas.microsoft.com/office/powerpoint/2010/main" val="38715273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3"/>
            <a:ext cx="5943535" cy="2011665"/>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680142"/>
            <a:ext cx="4846268" cy="1009740"/>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106073" y="1394167"/>
            <a:ext cx="7376710" cy="3670791"/>
          </a:xfrm>
          <a:prstGeom prst="rect">
            <a:avLst/>
          </a:prstGeom>
        </p:spPr>
      </p:pic>
    </p:spTree>
    <p:extLst>
      <p:ext uri="{BB962C8B-B14F-4D97-AF65-F5344CB8AC3E}">
        <p14:creationId xmlns:p14="http://schemas.microsoft.com/office/powerpoint/2010/main" val="3665597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spTree>
    <p:extLst>
      <p:ext uri="{BB962C8B-B14F-4D97-AF65-F5344CB8AC3E}">
        <p14:creationId xmlns:p14="http://schemas.microsoft.com/office/powerpoint/2010/main" val="1670322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95704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9282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49775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5537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9"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25678"/>
            <a:ext cx="9143936" cy="1828786"/>
          </a:xfrm>
          <a:noFill/>
        </p:spPr>
        <p:txBody>
          <a:bodyPr lIns="146304" tIns="91440" rIns="146304" bIns="91440" anchor="t" anchorCtr="0"/>
          <a:lstStyle>
            <a:lvl1pPr>
              <a:defRPr sz="5999"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2" y="3955787"/>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2"/>
            <a:ext cx="1005841" cy="195077"/>
          </a:xfrm>
          <a:prstGeom prst="rect">
            <a:avLst/>
          </a:prstGeom>
        </p:spPr>
      </p:pic>
      <p:sp>
        <p:nvSpPr>
          <p:cNvPr id="7" name="Rectangle 6"/>
          <p:cNvSpPr/>
          <p:nvPr userDrawn="1"/>
        </p:nvSpPr>
        <p:spPr bwMode="auto">
          <a:xfrm>
            <a:off x="457201"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6716591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48231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spTree>
    <p:extLst>
      <p:ext uri="{BB962C8B-B14F-4D97-AF65-F5344CB8AC3E}">
        <p14:creationId xmlns:p14="http://schemas.microsoft.com/office/powerpoint/2010/main" val="112744580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88041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5779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74639" y="4246413"/>
            <a:ext cx="11889564" cy="245125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4108913"/>
          </a:xfrm>
          <a:prstGeom prst="rect">
            <a:avLst/>
          </a:prstGeom>
        </p:spPr>
      </p:pic>
      <p:sp>
        <p:nvSpPr>
          <p:cNvPr id="8" name="Rectangle 7"/>
          <p:cNvSpPr/>
          <p:nvPr userDrawn="1"/>
        </p:nvSpPr>
        <p:spPr bwMode="auto">
          <a:xfrm>
            <a:off x="0" y="1"/>
            <a:ext cx="12436475" cy="6994524"/>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74320" y="295276"/>
            <a:ext cx="11888787" cy="917575"/>
          </a:xfrm>
        </p:spPr>
        <p:txBody>
          <a:bodyPr/>
          <a:lstStyle/>
          <a:p>
            <a:pPr algn="l"/>
            <a:endParaRPr lang="en-US"/>
          </a:p>
        </p:txBody>
      </p:sp>
    </p:spTree>
    <p:extLst>
      <p:ext uri="{BB962C8B-B14F-4D97-AF65-F5344CB8AC3E}">
        <p14:creationId xmlns:p14="http://schemas.microsoft.com/office/powerpoint/2010/main" val="42594506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295402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505730" y="2634233"/>
            <a:ext cx="5656107" cy="2240104"/>
          </a:xfrm>
          <a:prstGeom prst="rect">
            <a:avLst/>
          </a:prstGeom>
        </p:spPr>
      </p:pic>
      <p:sp>
        <p:nvSpPr>
          <p:cNvPr id="5" name="Title 1"/>
          <p:cNvSpPr>
            <a:spLocks noGrp="1"/>
          </p:cNvSpPr>
          <p:nvPr>
            <p:ph type="title" hasCustomPrompt="1"/>
          </p:nvPr>
        </p:nvSpPr>
        <p:spPr>
          <a:xfrm>
            <a:off x="1150195" y="2407190"/>
            <a:ext cx="5211882" cy="1034654"/>
          </a:xfrm>
          <a:noFill/>
        </p:spPr>
        <p:txBody>
          <a:bodyPr lIns="0" tIns="91440" rIns="146304" bIns="91440" anchor="t" anchorCtr="0"/>
          <a:lstStyle>
            <a:lvl1pPr>
              <a:defRPr sz="6199" spc="-100"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50131" y="3462393"/>
            <a:ext cx="5211943" cy="631470"/>
          </a:xfrm>
        </p:spPr>
        <p:txBody>
          <a:bodyPr/>
          <a:lstStyle>
            <a:lvl1pPr marL="0" indent="0">
              <a:spcBef>
                <a:spcPts val="1000"/>
              </a:spcBef>
              <a:spcAft>
                <a:spcPts val="1000"/>
              </a:spcAft>
              <a:buNone/>
              <a:defRPr sz="3199"/>
            </a:lvl1pPr>
          </a:lstStyle>
          <a:p>
            <a:pPr lvl="0"/>
            <a:r>
              <a:rPr lang="en-US"/>
              <a:t>Click to edit Master text</a:t>
            </a:r>
          </a:p>
        </p:txBody>
      </p:sp>
      <p:pic>
        <p:nvPicPr>
          <p:cNvPr id="3" name="Picture 2"/>
          <p:cNvPicPr>
            <a:picLocks noChangeAspect="1"/>
          </p:cNvPicPr>
          <p:nvPr userDrawn="1"/>
        </p:nvPicPr>
        <p:blipFill>
          <a:blip r:embed="rId3"/>
          <a:stretch>
            <a:fillRect/>
          </a:stretch>
        </p:blipFill>
        <p:spPr>
          <a:xfrm>
            <a:off x="274543" y="2595933"/>
            <a:ext cx="671248" cy="671248"/>
          </a:xfrm>
          <a:prstGeom prst="rect">
            <a:avLst/>
          </a:prstGeom>
        </p:spPr>
      </p:pic>
    </p:spTree>
    <p:extLst>
      <p:ext uri="{BB962C8B-B14F-4D97-AF65-F5344CB8AC3E}">
        <p14:creationId xmlns:p14="http://schemas.microsoft.com/office/powerpoint/2010/main" val="1645972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57542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852482" y="6030463"/>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42987" y="662655"/>
            <a:ext cx="10461592" cy="5205888"/>
          </a:xfrm>
          <a:prstGeom prst="rect">
            <a:avLst/>
          </a:prstGeom>
        </p:spPr>
      </p:pic>
    </p:spTree>
    <p:extLst>
      <p:ext uri="{BB962C8B-B14F-4D97-AF65-F5344CB8AC3E}">
        <p14:creationId xmlns:p14="http://schemas.microsoft.com/office/powerpoint/2010/main" val="1318226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3"/>
            <a:ext cx="5943535" cy="2011665"/>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680142"/>
            <a:ext cx="4846268" cy="1009740"/>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106073" y="1394167"/>
            <a:ext cx="7376710" cy="3670791"/>
          </a:xfrm>
          <a:prstGeom prst="rect">
            <a:avLst/>
          </a:prstGeom>
        </p:spPr>
      </p:pic>
    </p:spTree>
    <p:extLst>
      <p:ext uri="{BB962C8B-B14F-4D97-AF65-F5344CB8AC3E}">
        <p14:creationId xmlns:p14="http://schemas.microsoft.com/office/powerpoint/2010/main" val="4284663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12437425" cy="699872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05996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581" y="6234299"/>
            <a:ext cx="1097269" cy="209971"/>
          </a:xfrm>
          <a:prstGeom prst="rect">
            <a:avLst/>
          </a:prstGeom>
        </p:spPr>
      </p:pic>
    </p:spTree>
    <p:extLst>
      <p:ext uri="{BB962C8B-B14F-4D97-AF65-F5344CB8AC3E}">
        <p14:creationId xmlns:p14="http://schemas.microsoft.com/office/powerpoint/2010/main" val="4245908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736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61384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8182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81825"/>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56072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8025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5659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solidFill>
                  <a:schemeClr val="tx1"/>
                </a:solidFill>
              </a:defRPr>
            </a:lvl1pPr>
          </a:lstStyle>
          <a:p>
            <a:r>
              <a:rPr lang="en-US"/>
              <a:t>Lorem ipsum</a:t>
            </a:r>
          </a:p>
        </p:txBody>
      </p:sp>
    </p:spTree>
    <p:extLst>
      <p:ext uri="{BB962C8B-B14F-4D97-AF65-F5344CB8AC3E}">
        <p14:creationId xmlns:p14="http://schemas.microsoft.com/office/powerpoint/2010/main" val="206047425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12639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333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74639" y="4246413"/>
            <a:ext cx="11889564" cy="245125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436475" cy="4108913"/>
          </a:xfrm>
          <a:prstGeom prst="rect">
            <a:avLst/>
          </a:prstGeom>
        </p:spPr>
      </p:pic>
      <p:sp>
        <p:nvSpPr>
          <p:cNvPr id="8" name="Rectangle 7"/>
          <p:cNvSpPr/>
          <p:nvPr userDrawn="1"/>
        </p:nvSpPr>
        <p:spPr bwMode="auto">
          <a:xfrm>
            <a:off x="0" y="1"/>
            <a:ext cx="12436475" cy="6994524"/>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74320" y="295276"/>
            <a:ext cx="11888787" cy="917575"/>
          </a:xfrm>
        </p:spPr>
        <p:txBody>
          <a:bodyPr/>
          <a:lstStyle/>
          <a:p>
            <a:pPr algn="l"/>
            <a:r>
              <a:rPr lang="en-US"/>
              <a:t>Click to edit Master title style</a:t>
            </a:r>
          </a:p>
        </p:txBody>
      </p:sp>
    </p:spTree>
    <p:extLst>
      <p:ext uri="{BB962C8B-B14F-4D97-AF65-F5344CB8AC3E}">
        <p14:creationId xmlns:p14="http://schemas.microsoft.com/office/powerpoint/2010/main" val="27324959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12437425" cy="699873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525104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504740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505730" y="2634233"/>
            <a:ext cx="5656107" cy="2240104"/>
          </a:xfrm>
          <a:prstGeom prst="rect">
            <a:avLst/>
          </a:prstGeom>
        </p:spPr>
      </p:pic>
      <p:sp>
        <p:nvSpPr>
          <p:cNvPr id="5" name="Title 1"/>
          <p:cNvSpPr>
            <a:spLocks noGrp="1"/>
          </p:cNvSpPr>
          <p:nvPr>
            <p:ph type="title" hasCustomPrompt="1"/>
          </p:nvPr>
        </p:nvSpPr>
        <p:spPr>
          <a:xfrm>
            <a:off x="1150195" y="2407190"/>
            <a:ext cx="5211882" cy="1034654"/>
          </a:xfrm>
          <a:noFill/>
        </p:spPr>
        <p:txBody>
          <a:bodyPr lIns="0" tIns="91440" rIns="146304" bIns="91440" anchor="t" anchorCtr="0"/>
          <a:lstStyle>
            <a:lvl1pPr>
              <a:defRPr sz="6199" spc="-100"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50131" y="3462393"/>
            <a:ext cx="5211943" cy="631470"/>
          </a:xfrm>
        </p:spPr>
        <p:txBody>
          <a:bodyPr/>
          <a:lstStyle>
            <a:lvl1pPr marL="0" indent="0">
              <a:spcBef>
                <a:spcPts val="1000"/>
              </a:spcBef>
              <a:spcAft>
                <a:spcPts val="1000"/>
              </a:spcAft>
              <a:buNone/>
              <a:defRPr sz="3199"/>
            </a:lvl1pPr>
          </a:lstStyle>
          <a:p>
            <a:pPr lvl="0"/>
            <a:r>
              <a:rPr lang="en-US"/>
              <a:t>Edit Master text styles</a:t>
            </a:r>
          </a:p>
        </p:txBody>
      </p:sp>
      <p:pic>
        <p:nvPicPr>
          <p:cNvPr id="3" name="Picture 2"/>
          <p:cNvPicPr>
            <a:picLocks noChangeAspect="1"/>
          </p:cNvPicPr>
          <p:nvPr userDrawn="1"/>
        </p:nvPicPr>
        <p:blipFill>
          <a:blip r:embed="rId3"/>
          <a:stretch>
            <a:fillRect/>
          </a:stretch>
        </p:blipFill>
        <p:spPr>
          <a:xfrm>
            <a:off x="274543" y="2595933"/>
            <a:ext cx="671248" cy="671248"/>
          </a:xfrm>
          <a:prstGeom prst="rect">
            <a:avLst/>
          </a:prstGeom>
        </p:spPr>
      </p:pic>
    </p:spTree>
    <p:extLst>
      <p:ext uri="{BB962C8B-B14F-4D97-AF65-F5344CB8AC3E}">
        <p14:creationId xmlns:p14="http://schemas.microsoft.com/office/powerpoint/2010/main" val="4199181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87370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74209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434711" cy="6994525"/>
          </a:xfrm>
          <a:prstGeom prst="rect">
            <a:avLst/>
          </a:prstGeom>
        </p:spPr>
      </p:pic>
      <p:sp>
        <p:nvSpPr>
          <p:cNvPr id="12" name="Rectangle 11"/>
          <p:cNvSpPr/>
          <p:nvPr userDrawn="1"/>
        </p:nvSpPr>
        <p:spPr bwMode="auto">
          <a:xfrm>
            <a:off x="273050" y="2125662"/>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1828800"/>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7671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80" y="-2"/>
            <a:ext cx="12456917" cy="7002566"/>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73049" y="2125662"/>
            <a:ext cx="9983787" cy="2493597"/>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9982134"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49" y="3954462"/>
            <a:ext cx="9982133" cy="664797"/>
          </a:xfrm>
          <a:noFill/>
        </p:spPr>
        <p:txBody>
          <a:bodyPr wrap="square" lIns="164592" tIns="109728" rIns="164592" bIns="109728">
            <a:spAutoFit/>
          </a:bodyPr>
          <a:lstStyle>
            <a:lvl1pPr marL="0" indent="0">
              <a:spcBef>
                <a:spcPts val="0"/>
              </a:spcBef>
              <a:buNone/>
              <a:defRPr sz="3200">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87583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06159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a:srcRect l="43746" t="7803" b="7803"/>
          <a:stretch/>
        </p:blipFill>
        <p:spPr>
          <a:xfrm>
            <a:off x="5439663" y="0"/>
            <a:ext cx="6995047" cy="6994525"/>
          </a:xfrm>
          <a:prstGeom prst="rect">
            <a:avLst/>
          </a:prstGeom>
        </p:spPr>
      </p:pic>
    </p:spTree>
    <p:extLst>
      <p:ext uri="{BB962C8B-B14F-4D97-AF65-F5344CB8AC3E}">
        <p14:creationId xmlns:p14="http://schemas.microsoft.com/office/powerpoint/2010/main" val="213820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476496"/>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8810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0195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4236768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80682986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84712"/>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93718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6047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871128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30943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049706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54693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52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365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55209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01232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7471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204033" y="169565"/>
            <a:ext cx="11998372" cy="668571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44692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D1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97200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3720839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Box with Graphics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915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tangle 6"/>
          <p:cNvSpPr/>
          <p:nvPr userDrawn="1"/>
        </p:nvSpPr>
        <p:spPr>
          <a:xfrm rot="5400000">
            <a:off x="-1407884" y="1407888"/>
            <a:ext cx="6994525" cy="417875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54919"/>
            <a:endParaRPr lang="en-US" sz="2200" dirty="0">
              <a:solidFill>
                <a:srgbClr val="FD7425"/>
              </a:solidFill>
            </a:endParaRPr>
          </a:p>
        </p:txBody>
      </p:sp>
      <p:sp>
        <p:nvSpPr>
          <p:cNvPr id="9" name="Text Placeholder 8"/>
          <p:cNvSpPr>
            <a:spLocks noGrp="1"/>
          </p:cNvSpPr>
          <p:nvPr>
            <p:ph type="body" sz="quarter" idx="13" hasCustomPrompt="1"/>
          </p:nvPr>
        </p:nvSpPr>
        <p:spPr>
          <a:xfrm>
            <a:off x="541340" y="3173415"/>
            <a:ext cx="3337561" cy="929177"/>
          </a:xfrm>
        </p:spPr>
        <p:txBody>
          <a:bodyPr lIns="0" tIns="0" rIns="0">
            <a:noAutofit/>
          </a:bodyPr>
          <a:lstStyle>
            <a:lvl1pPr marL="0" indent="0">
              <a:spcBef>
                <a:spcPts val="0"/>
              </a:spcBef>
              <a:spcAft>
                <a:spcPts val="1198"/>
              </a:spcAft>
              <a:buNone/>
              <a:defRPr sz="2200" b="0">
                <a:solidFill>
                  <a:schemeClr val="tx2"/>
                </a:solidFill>
                <a:latin typeface="+mj-lt"/>
              </a:defRPr>
            </a:lvl1pPr>
            <a:lvl2pPr marL="0" indent="0">
              <a:spcBef>
                <a:spcPts val="600"/>
              </a:spcBef>
              <a:buNone/>
              <a:defRPr sz="2200">
                <a:solidFill>
                  <a:schemeClr val="bg1"/>
                </a:solidFill>
              </a:defRPr>
            </a:lvl2pPr>
            <a:lvl3pPr marL="1109839" indent="0">
              <a:buNone/>
              <a:defRPr/>
            </a:lvl3pPr>
            <a:lvl4pPr marL="1664758" indent="0">
              <a:buNone/>
              <a:defRPr/>
            </a:lvl4pPr>
            <a:lvl5pPr marL="2219677" indent="0">
              <a:buNone/>
              <a:defRPr/>
            </a:lvl5pPr>
          </a:lstStyle>
          <a:p>
            <a:pPr lvl="0"/>
            <a:r>
              <a:rPr lang="en-US" dirty="0"/>
              <a:t>Heading</a:t>
            </a:r>
          </a:p>
          <a:p>
            <a:pPr lvl="1"/>
            <a:r>
              <a:rPr lang="en-US" dirty="0"/>
              <a:t>Text</a:t>
            </a:r>
          </a:p>
        </p:txBody>
      </p:sp>
      <p:sp>
        <p:nvSpPr>
          <p:cNvPr id="5" name="Footer Placeholder 4"/>
          <p:cNvSpPr>
            <a:spLocks noGrp="1"/>
          </p:cNvSpPr>
          <p:nvPr>
            <p:ph type="ftr" sz="quarter" idx="11"/>
          </p:nvPr>
        </p:nvSpPr>
        <p:spPr/>
        <p:txBody>
          <a:bodyPr>
            <a:noAutofit/>
          </a:bodyPr>
          <a:lstStyle>
            <a:lvl1pPr>
              <a:defRPr>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p:txBody>
          <a:bodyPr>
            <a:noAutofit/>
          </a:bodyPr>
          <a:lstStyle>
            <a:lvl1pPr>
              <a:defRPr>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2" name="Title 1"/>
          <p:cNvSpPr>
            <a:spLocks noGrp="1"/>
          </p:cNvSpPr>
          <p:nvPr>
            <p:ph type="title"/>
          </p:nvPr>
        </p:nvSpPr>
        <p:spPr>
          <a:xfrm>
            <a:off x="541339" y="586337"/>
            <a:ext cx="3337560" cy="1495794"/>
          </a:xfrm>
          <a:noFill/>
        </p:spPr>
        <p:txBody>
          <a:bodyPr wrap="square" lIns="0" tIns="0" rIns="0" bIns="0" rtlCol="0" anchor="t">
            <a:noAutofit/>
          </a:bodyPr>
          <a:lstStyle>
            <a:lvl1pPr>
              <a:defRPr lang="en-US" sz="3998" spc="-160" baseline="0" dirty="0">
                <a:solidFill>
                  <a:schemeClr val="bg1"/>
                </a:solidFill>
                <a:latin typeface="Segoe UI Semibold"/>
                <a:ea typeface="+mn-ea"/>
                <a:cs typeface="Segoe UI Semibold"/>
              </a:defRPr>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192945607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55006" y="4074003"/>
            <a:ext cx="10951462" cy="1015178"/>
          </a:xfrm>
          <a:solidFill>
            <a:schemeClr val="bg1">
              <a:alpha val="50000"/>
            </a:schemeClr>
          </a:solidFill>
        </p:spPr>
        <p:txBody>
          <a:bodyPr anchor="b"/>
          <a:lstStyle>
            <a:lvl1pPr algn="ctr">
              <a:defRPr sz="6119">
                <a:latin typeface="Segoe UI Light" panose="020B0502040204020203" pitchFamily="34" charset="0"/>
                <a:ea typeface="Segoe UI Historic" panose="020B0502040204020203" pitchFamily="34" charset="0"/>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754162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7938"/>
            <a:ext cx="12436475" cy="7010400"/>
          </a:xfrm>
          <a:prstGeom prst="rect">
            <a:avLst/>
          </a:prstGeom>
        </p:spPr>
      </p:pic>
      <p:sp>
        <p:nvSpPr>
          <p:cNvPr id="2" name="Rectangle 1"/>
          <p:cNvSpPr/>
          <p:nvPr userDrawn="1"/>
        </p:nvSpPr>
        <p:spPr bwMode="auto">
          <a:xfrm>
            <a:off x="5760974" y="2125663"/>
            <a:ext cx="6400800" cy="3657600"/>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038" y="2125677"/>
            <a:ext cx="6402388" cy="1828800"/>
          </a:xfrm>
          <a:noFill/>
        </p:spPr>
        <p:txBody>
          <a:bodyPr lIns="146304" tIns="91440" rIns="146304" bIns="91440" anchor="t" anchorCtr="0"/>
          <a:lstStyle>
            <a:lvl1pPr>
              <a:defRPr sz="5507"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386" y="3954458"/>
            <a:ext cx="6402388" cy="1825625"/>
          </a:xfrm>
        </p:spPr>
        <p:txBody>
          <a:bodyPr tIns="109728" bIns="109728">
            <a:noAutofit/>
          </a:bodyPr>
          <a:lstStyle>
            <a:lvl1pPr marL="0" indent="0">
              <a:spcBef>
                <a:spcPts val="0"/>
              </a:spcBef>
              <a:buNone/>
              <a:defRPr sz="3264">
                <a:solidFill>
                  <a:schemeClr val="bg1"/>
                </a:solidFill>
              </a:defRPr>
            </a:lvl1pPr>
          </a:lstStyle>
          <a:p>
            <a:pPr lvl="0"/>
            <a:r>
              <a:rPr lang="en-US" dirty="0"/>
              <a:t>Speaker Nam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5597116"/>
            <a:ext cx="1328928" cy="914400"/>
          </a:xfrm>
          <a:prstGeom prst="rect">
            <a:avLst/>
          </a:prstGeom>
        </p:spPr>
      </p:pic>
    </p:spTree>
    <p:extLst>
      <p:ext uri="{BB962C8B-B14F-4D97-AF65-F5344CB8AC3E}">
        <p14:creationId xmlns:p14="http://schemas.microsoft.com/office/powerpoint/2010/main" val="2571210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9114" y="318876"/>
            <a:ext cx="11375536" cy="664797"/>
          </a:xfrm>
          <a:prstGeom prst="rect">
            <a:avLst/>
          </a:prstGeom>
        </p:spPr>
        <p:txBody>
          <a:bodyPr vert="horz" wrap="square" lIns="0" tIns="0" rIns="0" bIns="0" rtlCol="0" anchor="t">
            <a:spAutoFit/>
          </a:bodyPr>
          <a:lstStyle/>
          <a:p>
            <a:r>
              <a:rPr lang="en-US" dirty="0"/>
              <a:t>Click to edit Master title style</a:t>
            </a:r>
          </a:p>
        </p:txBody>
      </p:sp>
      <p:sp>
        <p:nvSpPr>
          <p:cNvPr id="7" name="Text Placeholder 4"/>
          <p:cNvSpPr>
            <a:spLocks noGrp="1"/>
          </p:cNvSpPr>
          <p:nvPr>
            <p:ph type="body" sz="quarter" idx="10" hasCustomPrompt="1"/>
          </p:nvPr>
        </p:nvSpPr>
        <p:spPr>
          <a:xfrm>
            <a:off x="419115" y="1480116"/>
            <a:ext cx="11607131" cy="1065613"/>
          </a:xfrm>
        </p:spPr>
        <p:txBody>
          <a:bodyPr/>
          <a:lstStyle>
            <a:lvl1pPr marL="0" indent="0">
              <a:spcBef>
                <a:spcPts val="0"/>
              </a:spcBef>
              <a:spcAft>
                <a:spcPts val="686"/>
              </a:spcAft>
              <a:buNone/>
              <a:defRPr sz="3264" b="0" spc="-102" baseline="0">
                <a:solidFill>
                  <a:srgbClr val="505050"/>
                </a:solidFill>
                <a:latin typeface="+mj-lt"/>
                <a:cs typeface="Segoe UI Light"/>
              </a:defRPr>
            </a:lvl1pPr>
            <a:lvl2pPr marL="0" indent="0">
              <a:spcBef>
                <a:spcPts val="0"/>
              </a:spcBef>
              <a:spcAft>
                <a:spcPts val="686"/>
              </a:spcAft>
              <a:buNone/>
              <a:defRPr sz="2448" b="0" spc="-51" baseline="0">
                <a:solidFill>
                  <a:srgbClr val="505050"/>
                </a:solidFill>
                <a:latin typeface="+mj-lt"/>
                <a:cs typeface="Segoe UI Light"/>
              </a:defRPr>
            </a:lvl2pPr>
            <a:lvl3pPr marL="0" indent="0">
              <a:spcBef>
                <a:spcPts val="0"/>
              </a:spcBef>
              <a:spcAft>
                <a:spcPts val="306"/>
              </a:spcAft>
              <a:buNone/>
              <a:defRPr sz="1530"/>
            </a:lvl3pPr>
            <a:lvl4pPr marL="0" indent="0">
              <a:spcBef>
                <a:spcPts val="0"/>
              </a:spcBef>
              <a:spcAft>
                <a:spcPts val="306"/>
              </a:spcAft>
              <a:buNone/>
              <a:defRPr/>
            </a:lvl4pPr>
            <a:lvl5pPr marL="0" indent="0">
              <a:spcBef>
                <a:spcPts val="0"/>
              </a:spcBef>
              <a:spcAft>
                <a:spcPts val="306"/>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16397876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152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565329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p:cNvSpPr/>
          <p:nvPr userDrawn="1"/>
        </p:nvSpPr>
        <p:spPr>
          <a:xfrm>
            <a:off x="0" y="0"/>
            <a:ext cx="12436475" cy="1169234"/>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Title 1"/>
          <p:cNvSpPr>
            <a:spLocks noGrp="1"/>
          </p:cNvSpPr>
          <p:nvPr>
            <p:ph type="title"/>
          </p:nvPr>
        </p:nvSpPr>
        <p:spPr>
          <a:xfrm>
            <a:off x="619963" y="158793"/>
            <a:ext cx="10726460" cy="851648"/>
          </a:xfrm>
          <a:noFill/>
        </p:spPr>
        <p:txBody>
          <a:bodyPr/>
          <a:lstStyle>
            <a:lvl1pPr>
              <a:defRPr>
                <a:solidFill>
                  <a:schemeClr val="bg1"/>
                </a:solidFill>
              </a:defRPr>
            </a:lvl1pPr>
          </a:lstStyle>
          <a:p>
            <a:r>
              <a:rPr lang="en-US" dirty="0"/>
              <a:t>Click to edit Master title style</a:t>
            </a:r>
          </a:p>
        </p:txBody>
      </p:sp>
      <p:sp>
        <p:nvSpPr>
          <p:cNvPr id="4" name="Slide Number Placeholder 5"/>
          <p:cNvSpPr>
            <a:spLocks noGrp="1"/>
          </p:cNvSpPr>
          <p:nvPr>
            <p:ph type="sldNum" sz="quarter" idx="4"/>
          </p:nvPr>
        </p:nvSpPr>
        <p:spPr>
          <a:xfrm>
            <a:off x="9638268" y="6622132"/>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378DB5C-C750-4503-91DE-A51EC0B843DA}" type="slidenum">
              <a:rPr lang="en-US" smtClean="0"/>
              <a:t>‹#›</a:t>
            </a:fld>
            <a:endParaRPr lang="en-US"/>
          </a:p>
        </p:txBody>
      </p:sp>
    </p:spTree>
    <p:extLst>
      <p:ext uri="{BB962C8B-B14F-4D97-AF65-F5344CB8AC3E}">
        <p14:creationId xmlns:p14="http://schemas.microsoft.com/office/powerpoint/2010/main" val="281202017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10" name="Rectangle 9"/>
          <p:cNvSpPr/>
          <p:nvPr userDrawn="1"/>
        </p:nvSpPr>
        <p:spPr>
          <a:xfrm>
            <a:off x="237006" y="191107"/>
            <a:ext cx="11987947" cy="6597022"/>
          </a:xfrm>
          <a:prstGeom prst="rect">
            <a:avLst/>
          </a:prstGeom>
          <a:solidFill>
            <a:srgbClr val="485A7D">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393580353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2048" y="-647"/>
            <a:ext cx="8956893" cy="939441"/>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632331" y="225163"/>
            <a:ext cx="2541281" cy="715466"/>
            <a:chOff x="9442979" y="220768"/>
            <a:chExt cx="2491325" cy="701501"/>
          </a:xfrm>
        </p:grpSpPr>
        <p:pic>
          <p:nvPicPr>
            <p:cNvPr id="7" name="Picture 6" descr="prep_blu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2025820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408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965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532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310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FF8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866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8682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626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0" indent="0">
              <a:buNone/>
              <a:defRPr/>
            </a:lvl3pPr>
            <a:lvl4pPr marL="457159" indent="0">
              <a:buNone/>
              <a:defRPr/>
            </a:lvl4pPr>
            <a:lvl5pPr marL="68573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7623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0" indent="0">
              <a:buNone/>
              <a:defRPr/>
            </a:lvl3pPr>
            <a:lvl4pPr marL="457159" indent="0">
              <a:buNone/>
              <a:defRPr/>
            </a:lvl4pPr>
            <a:lvl5pPr marL="68573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698221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98174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416770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56046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5" indent="0">
              <a:buNone/>
              <a:tabLst/>
              <a:defRPr sz="2000"/>
            </a:lvl3pPr>
            <a:lvl4pPr marL="460335" indent="0">
              <a:buNone/>
              <a:defRPr/>
            </a:lvl4pPr>
            <a:lvl5pPr marL="68573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50532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43734" t="13403" b="2204"/>
          <a:stretch/>
        </p:blipFill>
        <p:spPr>
          <a:xfrm>
            <a:off x="5439027" y="0"/>
            <a:ext cx="6997447" cy="6995517"/>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36816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2536079"/>
          </a:xfrm>
        </p:spPr>
        <p:txBody>
          <a:bodyPr wrap="square">
            <a:spAutoFit/>
          </a:bodyPr>
          <a:lstStyle>
            <a:lvl1pPr marL="287312" indent="-287312">
              <a:spcBef>
                <a:spcPts val="1224"/>
              </a:spcBef>
              <a:buClr>
                <a:schemeClr val="tx1"/>
              </a:buClr>
              <a:buFont typeface="Arial" pitchFamily="34" charset="0"/>
              <a:buChar char="•"/>
              <a:defRPr sz="3600"/>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536079"/>
          </a:xfrm>
        </p:spPr>
        <p:txBody>
          <a:bodyPr wrap="square">
            <a:spAutoFit/>
          </a:bodyPr>
          <a:lstStyle>
            <a:lvl1pPr marL="287312" indent="-287312">
              <a:spcBef>
                <a:spcPts val="1224"/>
              </a:spcBef>
              <a:buClr>
                <a:schemeClr val="tx1"/>
              </a:buClr>
              <a:buFont typeface="Arial" pitchFamily="34" charset="0"/>
              <a:buChar char="•"/>
              <a:defRPr sz="3600"/>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42161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2536079"/>
          </a:xfrm>
        </p:spPr>
        <p:txBody>
          <a:bodyPr wrap="square">
            <a:spAutoFit/>
          </a:bodyPr>
          <a:lstStyle>
            <a:lvl1pPr marL="287312" indent="-287312">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2536079"/>
          </a:xfrm>
        </p:spPr>
        <p:txBody>
          <a:bodyPr wrap="square">
            <a:spAutoFit/>
          </a:bodyPr>
          <a:lstStyle>
            <a:lvl1pPr marL="287312" indent="-287312">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19" indent="-233175">
              <a:defRPr sz="2400"/>
            </a:lvl2pPr>
            <a:lvl3pPr marL="699523" indent="-168404">
              <a:tabLst/>
              <a:defRPr sz="2000"/>
            </a:lvl3pPr>
            <a:lvl4pPr marL="880880" indent="-181359">
              <a:defRPr/>
            </a:lvl4pPr>
            <a:lvl5pPr marL="1049284" indent="-16840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96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41142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391"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22" indent="0">
              <a:buNone/>
              <a:defRPr>
                <a:gradFill>
                  <a:gsLst>
                    <a:gs pos="1250">
                      <a:srgbClr val="000000"/>
                    </a:gs>
                    <a:gs pos="100000">
                      <a:srgbClr val="000000"/>
                    </a:gs>
                  </a:gsLst>
                  <a:lin ang="5400000" scaled="0"/>
                </a:gradFill>
                <a:latin typeface="Segoe UI" pitchFamily="34" charset="0"/>
                <a:cs typeface="Segoe UI" pitchFamily="34" charset="0"/>
              </a:defRPr>
            </a:lvl2pPr>
            <a:lvl3pPr marL="584556"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92"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0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05423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88" indent="-29048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0" indent="-28096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37" indent="-29048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17" indent="-22858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97" indent="-22858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9595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456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364663" y="6372904"/>
            <a:ext cx="2797175" cy="371475"/>
          </a:xfrm>
          <a:prstGeom prst="rect">
            <a:avLst/>
          </a:prstGeom>
        </p:spPr>
        <p:txBody>
          <a:bodyPr vert="horz" lIns="91440" tIns="45720" rIns="146304" bIns="45720" rtlCol="0" anchor="ctr"/>
          <a:lstStyle>
            <a:lvl1pPr marL="0" algn="r" defTabSz="932574" rtl="0" eaLnBrk="1" latinLnBrk="0" hangingPunct="1">
              <a:lnSpc>
                <a:spcPct val="90000"/>
              </a:lnSpc>
              <a:spcAft>
                <a:spcPts val="600"/>
              </a:spcAft>
              <a:defRPr lang="en-US" sz="2000"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a:t>
            </a:fld>
            <a:endParaRPr lang="en-US" dirty="0"/>
          </a:p>
        </p:txBody>
      </p:sp>
    </p:spTree>
    <p:extLst>
      <p:ext uri="{BB962C8B-B14F-4D97-AF65-F5344CB8AC3E}">
        <p14:creationId xmlns:p14="http://schemas.microsoft.com/office/powerpoint/2010/main" val="1447818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6511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34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14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01150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1958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13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74639" y="295275"/>
            <a:ext cx="11889564" cy="917575"/>
          </a:xfrm>
        </p:spPr>
        <p:txBody>
          <a:bodyPr/>
          <a:lstStyle>
            <a:lvl1pPr>
              <a:defRPr/>
            </a:lvl1pPr>
          </a:lstStyle>
          <a:p>
            <a:r>
              <a:rPr lang="en-US" dirty="0"/>
              <a:t>Compute options for all types of apps</a:t>
            </a:r>
          </a:p>
        </p:txBody>
      </p:sp>
    </p:spTree>
    <p:extLst>
      <p:ext uri="{BB962C8B-B14F-4D97-AF65-F5344CB8AC3E}">
        <p14:creationId xmlns:p14="http://schemas.microsoft.com/office/powerpoint/2010/main" val="410026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96483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71063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179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6854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25149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74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801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70" y="295275"/>
            <a:ext cx="7043233" cy="917575"/>
          </a:xfrm>
        </p:spPr>
        <p:txBody>
          <a:bodyPr/>
          <a:lstStyle>
            <a:lvl1pPr>
              <a:defRPr sz="3999"/>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0"/>
            <a:ext cx="4925696" cy="6995160"/>
          </a:xfrm>
          <a:prstGeom prst="rect">
            <a:avLst/>
          </a:prstGeom>
        </p:spPr>
      </p:pic>
    </p:spTree>
    <p:extLst>
      <p:ext uri="{BB962C8B-B14F-4D97-AF65-F5344CB8AC3E}">
        <p14:creationId xmlns:p14="http://schemas.microsoft.com/office/powerpoint/2010/main" val="274750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75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041794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67151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813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1"/>
                </a:solidFill>
              </a:defRPr>
            </a:lvl1pPr>
          </a:lstStyle>
          <a:p>
            <a:r>
              <a:rPr lang="en-US"/>
              <a:t>Click to edit Master title style</a:t>
            </a:r>
          </a:p>
        </p:txBody>
      </p:sp>
    </p:spTree>
    <p:extLst>
      <p:ext uri="{BB962C8B-B14F-4D97-AF65-F5344CB8AC3E}">
        <p14:creationId xmlns:p14="http://schemas.microsoft.com/office/powerpoint/2010/main" val="130877122"/>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112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39194956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458434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48702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2814833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17510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2473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378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454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9915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863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290017"/>
            <a:ext cx="6295120" cy="1942924"/>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83494" y="5743631"/>
            <a:ext cx="5834745" cy="690587"/>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8276" y="5102481"/>
            <a:ext cx="11887200" cy="499107"/>
          </a:xfrm>
        </p:spPr>
        <p:txBody>
          <a:bodyPr>
            <a:spAutoFit/>
          </a:bodyPr>
          <a:lstStyle>
            <a:lvl1pPr marL="0" indent="0">
              <a:buNone/>
              <a:defRPr sz="2244" b="1" i="0">
                <a:solidFill>
                  <a:schemeClr val="bg1"/>
                </a:solidFill>
                <a:latin typeface="Segoe UI" charset="0"/>
                <a:ea typeface="Segoe UI" charset="0"/>
                <a:cs typeface="Segoe UI" charset="0"/>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37922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7010594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7086051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99453"/>
            <a:ext cx="11888787" cy="91757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410926"/>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
        <p:nvSpPr>
          <p:cNvPr id="4" name="Text Placeholder 5"/>
          <p:cNvSpPr>
            <a:spLocks noGrp="1"/>
          </p:cNvSpPr>
          <p:nvPr>
            <p:ph type="body" sz="quarter" idx="11"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132508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08546807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55522057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3978234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29851348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838498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951996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125634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72962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11887200"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Tree>
    <p:extLst>
      <p:ext uri="{BB962C8B-B14F-4D97-AF65-F5344CB8AC3E}">
        <p14:creationId xmlns:p14="http://schemas.microsoft.com/office/powerpoint/2010/main" val="309002996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11887200"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74639" y="466302"/>
            <a:ext cx="11887200" cy="442604"/>
          </a:xfrm>
        </p:spPr>
        <p:txBody>
          <a:bodyPr>
            <a:spAutoFit/>
          </a:bodyPr>
          <a:lstStyle>
            <a:lvl1pPr marL="0" indent="0">
              <a:buNone/>
              <a:defRPr sz="1836" b="1" baseline="0">
                <a:solidFill>
                  <a:schemeClr val="bg1"/>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PAGE HEADER</a:t>
            </a:r>
          </a:p>
        </p:txBody>
      </p:sp>
    </p:spTree>
    <p:extLst>
      <p:ext uri="{BB962C8B-B14F-4D97-AF65-F5344CB8AC3E}">
        <p14:creationId xmlns:p14="http://schemas.microsoft.com/office/powerpoint/2010/main" val="133156146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2" y="6078667"/>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8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2406420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8811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46162"/>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7568846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136277"/>
            <a:ext cx="11887200" cy="470856"/>
          </a:xfrm>
        </p:spPr>
        <p:txBody>
          <a:bodyPr>
            <a:spAutoFit/>
          </a:bodyPr>
          <a:lstStyle>
            <a:lvl1pPr marL="0" indent="0">
              <a:buNone/>
              <a:defRPr sz="2040" b="1">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5456610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99885" y="3216118"/>
            <a:ext cx="9327356" cy="2435131"/>
          </a:xfrm>
          <a:solidFill>
            <a:schemeClr val="bg1">
              <a:alpha val="50000"/>
            </a:schemeClr>
          </a:solidFill>
        </p:spPr>
        <p:txBody>
          <a:bodyPr anchor="b"/>
          <a:lstStyle>
            <a:lvl1pPr algn="ctr">
              <a:defRPr sz="6043">
                <a:latin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3852041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p:cNvSpPr>
            <a:spLocks noGrp="1"/>
          </p:cNvSpPr>
          <p:nvPr>
            <p:ph type="ctrTitle"/>
          </p:nvPr>
        </p:nvSpPr>
        <p:spPr>
          <a:xfrm>
            <a:off x="201545" y="253068"/>
            <a:ext cx="12055256" cy="6514164"/>
          </a:xfrm>
          <a:solidFill>
            <a:schemeClr val="bg1">
              <a:alpha val="65000"/>
            </a:schemeClr>
          </a:solidFill>
        </p:spPr>
        <p:txBody>
          <a:bodyPr anchor="b"/>
          <a:lstStyle>
            <a:lvl1pPr algn="ctr">
              <a:defRPr sz="6043">
                <a:latin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1804433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29" y="1743780"/>
            <a:ext cx="10726460" cy="2909528"/>
          </a:xfrm>
        </p:spPr>
        <p:txBody>
          <a:bodyPr anchor="b"/>
          <a:lstStyle>
            <a:lvl1pPr>
              <a:defRPr sz="6043"/>
            </a:lvl1pPr>
          </a:lstStyle>
          <a:p>
            <a:r>
              <a:rPr lang="en-US"/>
              <a:t>Click to edit Master title style</a:t>
            </a:r>
            <a:endParaRPr lang="en-US" dirty="0"/>
          </a:p>
        </p:txBody>
      </p:sp>
      <p:sp>
        <p:nvSpPr>
          <p:cNvPr id="3" name="Text Placeholder 2"/>
          <p:cNvSpPr>
            <a:spLocks noGrp="1"/>
          </p:cNvSpPr>
          <p:nvPr>
            <p:ph type="body" idx="1"/>
          </p:nvPr>
        </p:nvSpPr>
        <p:spPr>
          <a:xfrm>
            <a:off x="848529" y="4680833"/>
            <a:ext cx="10726460" cy="1530052"/>
          </a:xfrm>
        </p:spPr>
        <p:txBody>
          <a:bodyPr/>
          <a:lstStyle>
            <a:lvl1pPr marL="0" indent="0">
              <a:buNone/>
              <a:defRPr sz="2448">
                <a:solidFill>
                  <a:schemeClr val="tx1">
                    <a:tint val="75000"/>
                  </a:schemeClr>
                </a:solidFill>
              </a:defRPr>
            </a:lvl1pPr>
            <a:lvl2pPr marL="466287" indent="0">
              <a:buNone/>
              <a:defRPr sz="2065">
                <a:solidFill>
                  <a:schemeClr val="tx1">
                    <a:tint val="75000"/>
                  </a:schemeClr>
                </a:solidFill>
              </a:defRPr>
            </a:lvl2pPr>
            <a:lvl3pPr marL="932569" indent="0">
              <a:buNone/>
              <a:defRPr sz="1836">
                <a:solidFill>
                  <a:schemeClr val="tx1">
                    <a:tint val="75000"/>
                  </a:schemeClr>
                </a:solidFill>
              </a:defRPr>
            </a:lvl3pPr>
            <a:lvl4pPr marL="1398854" indent="0">
              <a:buNone/>
              <a:defRPr sz="1606">
                <a:solidFill>
                  <a:schemeClr val="tx1">
                    <a:tint val="75000"/>
                  </a:schemeClr>
                </a:solidFill>
              </a:defRPr>
            </a:lvl4pPr>
            <a:lvl5pPr marL="1865139" indent="0">
              <a:buNone/>
              <a:defRPr sz="1606">
                <a:solidFill>
                  <a:schemeClr val="tx1">
                    <a:tint val="75000"/>
                  </a:schemeClr>
                </a:solidFill>
              </a:defRPr>
            </a:lvl5pPr>
            <a:lvl6pPr marL="2331423" indent="0">
              <a:buNone/>
              <a:defRPr sz="1606">
                <a:solidFill>
                  <a:schemeClr val="tx1">
                    <a:tint val="75000"/>
                  </a:schemeClr>
                </a:solidFill>
              </a:defRPr>
            </a:lvl6pPr>
            <a:lvl7pPr marL="2797710" indent="0">
              <a:buNone/>
              <a:defRPr sz="1606">
                <a:solidFill>
                  <a:schemeClr val="tx1">
                    <a:tint val="75000"/>
                  </a:schemeClr>
                </a:solidFill>
              </a:defRPr>
            </a:lvl7pPr>
            <a:lvl8pPr marL="3263994" indent="0">
              <a:buNone/>
              <a:defRPr sz="1606">
                <a:solidFill>
                  <a:schemeClr val="tx1">
                    <a:tint val="75000"/>
                  </a:schemeClr>
                </a:solidFill>
              </a:defRPr>
            </a:lvl8pPr>
            <a:lvl9pPr marL="3730278" indent="0">
              <a:buNone/>
              <a:defRPr sz="160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6C69C3-2B02-435B-B42B-5843A613D84F}" type="datetime1">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0982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982CDCD-8783-4409-8653-686B79A0DFAE}" type="datetime1">
              <a:rPr lang="en-US" smtClean="0">
                <a:solidFill>
                  <a:prstClr val="black">
                    <a:tint val="75000"/>
                  </a:prstClr>
                </a:solidFill>
              </a:rPr>
              <a:pPr/>
              <a:t>2/2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7534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9"/>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30" y="1714632"/>
            <a:ext cx="5261211" cy="840314"/>
          </a:xfrm>
        </p:spPr>
        <p:txBody>
          <a:bodyPr anchor="b"/>
          <a:lstStyle>
            <a:lvl1pPr marL="0" indent="0">
              <a:buNone/>
              <a:defRPr sz="2448" b="1"/>
            </a:lvl1pPr>
            <a:lvl2pPr marL="466287" indent="0">
              <a:buNone/>
              <a:defRPr sz="2065" b="1"/>
            </a:lvl2pPr>
            <a:lvl3pPr marL="932569" indent="0">
              <a:buNone/>
              <a:defRPr sz="1836" b="1"/>
            </a:lvl3pPr>
            <a:lvl4pPr marL="1398854" indent="0">
              <a:buNone/>
              <a:defRPr sz="1606" b="1"/>
            </a:lvl4pPr>
            <a:lvl5pPr marL="1865139" indent="0">
              <a:buNone/>
              <a:defRPr sz="1606" b="1"/>
            </a:lvl5pPr>
            <a:lvl6pPr marL="2331423" indent="0">
              <a:buNone/>
              <a:defRPr sz="1606" b="1"/>
            </a:lvl6pPr>
            <a:lvl7pPr marL="2797710" indent="0">
              <a:buNone/>
              <a:defRPr sz="1606" b="1"/>
            </a:lvl7pPr>
            <a:lvl8pPr marL="3263994" indent="0">
              <a:buNone/>
              <a:defRPr sz="1606" b="1"/>
            </a:lvl8pPr>
            <a:lvl9pPr marL="3730278" indent="0">
              <a:buNone/>
              <a:defRPr sz="1606" b="1"/>
            </a:lvl9pPr>
          </a:lstStyle>
          <a:p>
            <a:pPr lvl="0"/>
            <a:r>
              <a:rPr lang="en-US"/>
              <a:t>Click to edit Master text styles</a:t>
            </a:r>
          </a:p>
        </p:txBody>
      </p:sp>
      <p:sp>
        <p:nvSpPr>
          <p:cNvPr id="4" name="Content Placeholder 3"/>
          <p:cNvSpPr>
            <a:spLocks noGrp="1"/>
          </p:cNvSpPr>
          <p:nvPr>
            <p:ph sz="half" idx="2"/>
          </p:nvPr>
        </p:nvSpPr>
        <p:spPr>
          <a:xfrm>
            <a:off x="856630"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70" y="1714632"/>
            <a:ext cx="5287122" cy="840314"/>
          </a:xfrm>
        </p:spPr>
        <p:txBody>
          <a:bodyPr anchor="b"/>
          <a:lstStyle>
            <a:lvl1pPr marL="0" indent="0">
              <a:buNone/>
              <a:defRPr sz="2448" b="1"/>
            </a:lvl1pPr>
            <a:lvl2pPr marL="466287" indent="0">
              <a:buNone/>
              <a:defRPr sz="2065" b="1"/>
            </a:lvl2pPr>
            <a:lvl3pPr marL="932569" indent="0">
              <a:buNone/>
              <a:defRPr sz="1836" b="1"/>
            </a:lvl3pPr>
            <a:lvl4pPr marL="1398854" indent="0">
              <a:buNone/>
              <a:defRPr sz="1606" b="1"/>
            </a:lvl4pPr>
            <a:lvl5pPr marL="1865139" indent="0">
              <a:buNone/>
              <a:defRPr sz="1606" b="1"/>
            </a:lvl5pPr>
            <a:lvl6pPr marL="2331423" indent="0">
              <a:buNone/>
              <a:defRPr sz="1606" b="1"/>
            </a:lvl6pPr>
            <a:lvl7pPr marL="2797710" indent="0">
              <a:buNone/>
              <a:defRPr sz="1606" b="1"/>
            </a:lvl7pPr>
            <a:lvl8pPr marL="3263994" indent="0">
              <a:buNone/>
              <a:defRPr sz="1606" b="1"/>
            </a:lvl8pPr>
            <a:lvl9pPr marL="3730278" indent="0">
              <a:buNone/>
              <a:defRPr sz="1606" b="1"/>
            </a:lvl9pPr>
          </a:lstStyle>
          <a:p>
            <a:pPr lvl="0"/>
            <a:r>
              <a:rPr lang="en-US"/>
              <a:t>Click to edit Master text styles</a:t>
            </a:r>
          </a:p>
        </p:txBody>
      </p:sp>
      <p:sp>
        <p:nvSpPr>
          <p:cNvPr id="6" name="Content Placeholder 5"/>
          <p:cNvSpPr>
            <a:spLocks noGrp="1"/>
          </p:cNvSpPr>
          <p:nvPr>
            <p:ph sz="quarter" idx="4"/>
          </p:nvPr>
        </p:nvSpPr>
        <p:spPr>
          <a:xfrm>
            <a:off x="6295970"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4F8239E-E679-4978-A58D-37E29C5E0FB2}" type="datetime1">
              <a:rPr lang="en-US" smtClean="0">
                <a:solidFill>
                  <a:prstClr val="black">
                    <a:tint val="75000"/>
                  </a:prstClr>
                </a:solidFill>
              </a:rPr>
              <a:pPr/>
              <a:t>2/26/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6C54476-6401-4E35-8A55-C92A753C272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42860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1.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5" Type="http://schemas.openxmlformats.org/officeDocument/2006/relationships/slideLayout" Target="../slideLayouts/slideLayout198.xml"/><Relationship Id="rId10" Type="http://schemas.openxmlformats.org/officeDocument/2006/relationships/theme" Target="../theme/theme10.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image" Target="../media/image30.png"/><Relationship Id="rId2" Type="http://schemas.openxmlformats.org/officeDocument/2006/relationships/slideLayout" Target="../slideLayouts/slideLayout204.xml"/><Relationship Id="rId16" Type="http://schemas.openxmlformats.org/officeDocument/2006/relationships/theme" Target="../theme/theme1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image" Target="../media/image30.png"/><Relationship Id="rId2" Type="http://schemas.openxmlformats.org/officeDocument/2006/relationships/slideLayout" Target="../slideLayouts/slideLayout219.xml"/><Relationship Id="rId16"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21" Type="http://schemas.openxmlformats.org/officeDocument/2006/relationships/theme" Target="../theme/theme1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0.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theme" Target="../theme/theme14.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image" Target="../media/image1.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theme" Target="../theme/theme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6.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5.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16.png"/><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image" Target="../media/image1.emf"/><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9" Type="http://schemas.openxmlformats.org/officeDocument/2006/relationships/slideLayout" Target="../slideLayouts/slideLayout187.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34" Type="http://schemas.openxmlformats.org/officeDocument/2006/relationships/slideLayout" Target="../slideLayouts/slideLayout182.xml"/><Relationship Id="rId42" Type="http://schemas.openxmlformats.org/officeDocument/2006/relationships/slideLayout" Target="../slideLayouts/slideLayout190.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slideLayout" Target="../slideLayouts/slideLayout181.xml"/><Relationship Id="rId38" Type="http://schemas.openxmlformats.org/officeDocument/2006/relationships/slideLayout" Target="../slideLayouts/slideLayout186.xml"/><Relationship Id="rId46" Type="http://schemas.openxmlformats.org/officeDocument/2006/relationships/theme" Target="../theme/theme9.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slideLayout" Target="../slideLayouts/slideLayout177.xml"/><Relationship Id="rId41" Type="http://schemas.openxmlformats.org/officeDocument/2006/relationships/slideLayout" Target="../slideLayouts/slideLayout189.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slideLayout" Target="../slideLayouts/slideLayout180.xml"/><Relationship Id="rId37" Type="http://schemas.openxmlformats.org/officeDocument/2006/relationships/slideLayout" Target="../slideLayouts/slideLayout185.xml"/><Relationship Id="rId40" Type="http://schemas.openxmlformats.org/officeDocument/2006/relationships/slideLayout" Target="../slideLayouts/slideLayout188.xml"/><Relationship Id="rId45" Type="http://schemas.openxmlformats.org/officeDocument/2006/relationships/slideLayout" Target="../slideLayouts/slideLayout193.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slideLayout" Target="../slideLayouts/slideLayout184.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slideLayout" Target="../slideLayouts/slideLayout179.xml"/><Relationship Id="rId44" Type="http://schemas.openxmlformats.org/officeDocument/2006/relationships/slideLayout" Target="../slideLayouts/slideLayout192.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slideLayout" Target="../slideLayouts/slideLayout178.xml"/><Relationship Id="rId35" Type="http://schemas.openxmlformats.org/officeDocument/2006/relationships/slideLayout" Target="../slideLayouts/slideLayout183.xml"/><Relationship Id="rId43" Type="http://schemas.openxmlformats.org/officeDocument/2006/relationships/slideLayout" Target="../slideLayouts/slideLayout1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73" r:id="rId2"/>
    <p:sldLayoutId id="2147484467" r:id="rId3"/>
    <p:sldLayoutId id="2147484266" r:id="rId4"/>
    <p:sldLayoutId id="2147484240" r:id="rId5"/>
    <p:sldLayoutId id="2147484241" r:id="rId6"/>
    <p:sldLayoutId id="2147484474" r:id="rId7"/>
    <p:sldLayoutId id="2147484245" r:id="rId8"/>
    <p:sldLayoutId id="2147484247" r:id="rId9"/>
    <p:sldLayoutId id="2147484249" r:id="rId10"/>
    <p:sldLayoutId id="2147484250" r:id="rId11"/>
    <p:sldLayoutId id="2147484264" r:id="rId12"/>
    <p:sldLayoutId id="2147484251" r:id="rId13"/>
    <p:sldLayoutId id="2147484463" r:id="rId14"/>
    <p:sldLayoutId id="2147484256" r:id="rId15"/>
    <p:sldLayoutId id="2147484257" r:id="rId16"/>
    <p:sldLayoutId id="2147484260" r:id="rId17"/>
    <p:sldLayoutId id="2147484299" r:id="rId18"/>
    <p:sldLayoutId id="2147484263"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535655" y="4563661"/>
            <a:ext cx="388841" cy="2430864"/>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82968088"/>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 id="2147484835" r:id="rId8"/>
    <p:sldLayoutId id="2147484837" r:id="rId9"/>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7005" y="1516064"/>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148122044"/>
      </p:ext>
    </p:extLst>
  </p:cSld>
  <p:clrMap bg1="dk1" tx1="lt1" bg2="dk2" tx2="lt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90" r:id="rId13"/>
    <p:sldLayoutId id="2147484891" r:id="rId14"/>
    <p:sldLayoutId id="2147484892" r:id="rId1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7005" y="1516064"/>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4054469068"/>
      </p:ext>
    </p:extLst>
  </p:cSld>
  <p:clrMap bg1="dk1" tx1="lt1" bg2="dk2" tx2="lt2" accent1="accent1" accent2="accent2" accent3="accent3" accent4="accent4" accent5="accent5" accent6="accent6" hlink="hlink" folHlink="folHlink"/>
  <p:sldLayoutIdLst>
    <p:sldLayoutId id="2147484894" r:id="rId1"/>
    <p:sldLayoutId id="2147484895" r:id="rId2"/>
    <p:sldLayoutId id="2147484896" r:id="rId3"/>
    <p:sldLayoutId id="2147484897" r:id="rId4"/>
    <p:sldLayoutId id="2147484898" r:id="rId5"/>
    <p:sldLayoutId id="2147484899" r:id="rId6"/>
    <p:sldLayoutId id="2147484900" r:id="rId7"/>
    <p:sldLayoutId id="2147484901" r:id="rId8"/>
    <p:sldLayoutId id="2147484902" r:id="rId9"/>
    <p:sldLayoutId id="2147484903" r:id="rId10"/>
    <p:sldLayoutId id="2147484904" r:id="rId11"/>
    <p:sldLayoutId id="2147484905" r:id="rId12"/>
    <p:sldLayoutId id="2147484906" r:id="rId13"/>
    <p:sldLayoutId id="2147484907" r:id="rId14"/>
    <p:sldLayoutId id="2147484908" r:id="rId1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53198240"/>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5914" y="237414"/>
            <a:ext cx="10726460" cy="10142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9" y="1861968"/>
            <a:ext cx="10726460" cy="44379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91"/>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291CDDDA-8F46-48C5-811E-CA42F79E8AF7}" type="datetimeFigureOut">
              <a:rPr lang="en-US" smtClean="0"/>
              <a:t>2/26/2019</a:t>
            </a:fld>
            <a:endParaRPr lang="en-US"/>
          </a:p>
        </p:txBody>
      </p:sp>
      <p:sp>
        <p:nvSpPr>
          <p:cNvPr id="5" name="Footer Placeholder 4"/>
          <p:cNvSpPr>
            <a:spLocks noGrp="1"/>
          </p:cNvSpPr>
          <p:nvPr>
            <p:ph type="ftr" sz="quarter" idx="3"/>
          </p:nvPr>
        </p:nvSpPr>
        <p:spPr>
          <a:xfrm>
            <a:off x="4119584" y="6482891"/>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1"/>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F05B51C0-F513-4542-A0BB-5F8F10FD3D6E}" type="slidenum">
              <a:rPr lang="en-US" smtClean="0"/>
              <a:t>‹#›</a:t>
            </a:fld>
            <a:endParaRPr lang="en-US"/>
          </a:p>
        </p:txBody>
      </p:sp>
    </p:spTree>
    <p:extLst>
      <p:ext uri="{BB962C8B-B14F-4D97-AF65-F5344CB8AC3E}">
        <p14:creationId xmlns:p14="http://schemas.microsoft.com/office/powerpoint/2010/main" val="2932243439"/>
      </p:ext>
    </p:extLst>
  </p:cSld>
  <p:clrMap bg1="lt1" tx1="dk1" bg2="lt2" tx2="dk2" accent1="accent1" accent2="accent2" accent3="accent3" accent4="accent4" accent5="accent5" accent6="accent6" hlink="hlink" folHlink="folHlink"/>
  <p:sldLayoutIdLst>
    <p:sldLayoutId id="2147485006" r:id="rId1"/>
    <p:sldLayoutId id="2147485007" r:id="rId2"/>
    <p:sldLayoutId id="2147485008" r:id="rId3"/>
    <p:sldLayoutId id="2147485009" r:id="rId4"/>
    <p:sldLayoutId id="2147485010" r:id="rId5"/>
    <p:sldLayoutId id="2147485011" r:id="rId6"/>
    <p:sldLayoutId id="2147485012" r:id="rId7"/>
    <p:sldLayoutId id="2147485013" r:id="rId8"/>
    <p:sldLayoutId id="2147485014" r:id="rId9"/>
    <p:sldLayoutId id="2147485015" r:id="rId10"/>
    <p:sldLayoutId id="2147485016" r:id="rId11"/>
  </p:sldLayoutIdLst>
  <p:txStyles>
    <p:titleStyle>
      <a:lvl1pPr algn="l" defTabSz="932317" rtl="0" eaLnBrk="1" latinLnBrk="0" hangingPunct="1">
        <a:lnSpc>
          <a:spcPct val="90000"/>
        </a:lnSpc>
        <a:spcBef>
          <a:spcPct val="0"/>
        </a:spcBef>
        <a:buNone/>
        <a:defRPr sz="4793" b="1" kern="1200">
          <a:solidFill>
            <a:schemeClr val="tx1"/>
          </a:solidFill>
          <a:latin typeface="Segoe UI Light" panose="020B0502040204020203" pitchFamily="34" charset="0"/>
          <a:ea typeface="+mj-ea"/>
          <a:cs typeface="Segoe UI Light" panose="020B0502040204020203" pitchFamily="34" charset="0"/>
        </a:defRPr>
      </a:lvl1pPr>
    </p:titleStyle>
    <p:bodyStyle>
      <a:lvl1pPr marL="233079" indent="-233079" algn="l" defTabSz="932317" rtl="0" eaLnBrk="1" latinLnBrk="0" hangingPunct="1">
        <a:lnSpc>
          <a:spcPct val="90000"/>
        </a:lnSpc>
        <a:spcBef>
          <a:spcPts val="1020"/>
        </a:spcBef>
        <a:buFont typeface="Arial" panose="020B0604020202020204" pitchFamily="34" charset="0"/>
        <a:buChar char="•"/>
        <a:defRPr sz="2855" kern="1200">
          <a:solidFill>
            <a:schemeClr val="tx1"/>
          </a:solidFill>
          <a:latin typeface="Segoe UI" panose="020B0502040204020203" pitchFamily="34" charset="0"/>
          <a:ea typeface="+mn-ea"/>
          <a:cs typeface="Segoe UI" panose="020B0502040204020203" pitchFamily="34" charset="0"/>
        </a:defRPr>
      </a:lvl1pPr>
      <a:lvl2pPr marL="699237" indent="-233079" algn="l" defTabSz="932317" rtl="0" eaLnBrk="1" latinLnBrk="0" hangingPunct="1">
        <a:lnSpc>
          <a:spcPct val="90000"/>
        </a:lnSpc>
        <a:spcBef>
          <a:spcPts val="510"/>
        </a:spcBef>
        <a:buFont typeface="Arial" panose="020B0604020202020204" pitchFamily="34" charset="0"/>
        <a:buChar char="•"/>
        <a:defRPr sz="2447" kern="1200">
          <a:solidFill>
            <a:schemeClr val="tx1"/>
          </a:solidFill>
          <a:latin typeface="Segoe UI" panose="020B0502040204020203" pitchFamily="34" charset="0"/>
          <a:ea typeface="+mn-ea"/>
          <a:cs typeface="Segoe UI" panose="020B0502040204020203" pitchFamily="34" charset="0"/>
        </a:defRPr>
      </a:lvl2pPr>
      <a:lvl3pPr marL="1165396" indent="-233079" algn="l" defTabSz="932317" rtl="0" eaLnBrk="1" latinLnBrk="0" hangingPunct="1">
        <a:lnSpc>
          <a:spcPct val="90000"/>
        </a:lnSpc>
        <a:spcBef>
          <a:spcPts val="510"/>
        </a:spcBef>
        <a:buFont typeface="Arial" panose="020B0604020202020204" pitchFamily="34" charset="0"/>
        <a:buChar char="•"/>
        <a:defRPr sz="2039" kern="1200">
          <a:solidFill>
            <a:schemeClr val="tx1"/>
          </a:solidFill>
          <a:latin typeface="Segoe UI" panose="020B0502040204020203" pitchFamily="34" charset="0"/>
          <a:ea typeface="+mn-ea"/>
          <a:cs typeface="Segoe UI" panose="020B0502040204020203" pitchFamily="34" charset="0"/>
        </a:defRPr>
      </a:lvl3pPr>
      <a:lvl4pPr marL="1631554"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Segoe UI" panose="020B0502040204020203" pitchFamily="34" charset="0"/>
          <a:ea typeface="+mn-ea"/>
          <a:cs typeface="Segoe UI" panose="020B0502040204020203" pitchFamily="34" charset="0"/>
        </a:defRPr>
      </a:lvl4pPr>
      <a:lvl5pPr marL="2097713"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Segoe UI" panose="020B0502040204020203" pitchFamily="34" charset="0"/>
          <a:ea typeface="+mn-ea"/>
          <a:cs typeface="Segoe UI" panose="020B0502040204020203" pitchFamily="34" charset="0"/>
        </a:defRPr>
      </a:lvl5pPr>
      <a:lvl6pPr marL="2563872"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6pPr>
      <a:lvl7pPr marL="3030029"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7pPr>
      <a:lvl8pPr marL="3496188"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8pPr>
      <a:lvl9pPr marL="3962346"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9pPr>
    </p:bodyStyle>
    <p:otherStyle>
      <a:defPPr>
        <a:defRPr lang="en-US"/>
      </a:defPPr>
      <a:lvl1pPr marL="0" algn="l" defTabSz="932317" rtl="0" eaLnBrk="1" latinLnBrk="0" hangingPunct="1">
        <a:defRPr sz="1835" kern="1200">
          <a:solidFill>
            <a:schemeClr val="tx1"/>
          </a:solidFill>
          <a:latin typeface="+mn-lt"/>
          <a:ea typeface="+mn-ea"/>
          <a:cs typeface="+mn-cs"/>
        </a:defRPr>
      </a:lvl1pPr>
      <a:lvl2pPr marL="466159" algn="l" defTabSz="932317" rtl="0" eaLnBrk="1" latinLnBrk="0" hangingPunct="1">
        <a:defRPr sz="1835" kern="1200">
          <a:solidFill>
            <a:schemeClr val="tx1"/>
          </a:solidFill>
          <a:latin typeface="+mn-lt"/>
          <a:ea typeface="+mn-ea"/>
          <a:cs typeface="+mn-cs"/>
        </a:defRPr>
      </a:lvl2pPr>
      <a:lvl3pPr marL="932317" algn="l" defTabSz="932317" rtl="0" eaLnBrk="1" latinLnBrk="0" hangingPunct="1">
        <a:defRPr sz="1835" kern="1200">
          <a:solidFill>
            <a:schemeClr val="tx1"/>
          </a:solidFill>
          <a:latin typeface="+mn-lt"/>
          <a:ea typeface="+mn-ea"/>
          <a:cs typeface="+mn-cs"/>
        </a:defRPr>
      </a:lvl3pPr>
      <a:lvl4pPr marL="1398476" algn="l" defTabSz="932317" rtl="0" eaLnBrk="1" latinLnBrk="0" hangingPunct="1">
        <a:defRPr sz="1835" kern="1200">
          <a:solidFill>
            <a:schemeClr val="tx1"/>
          </a:solidFill>
          <a:latin typeface="+mn-lt"/>
          <a:ea typeface="+mn-ea"/>
          <a:cs typeface="+mn-cs"/>
        </a:defRPr>
      </a:lvl4pPr>
      <a:lvl5pPr marL="1864633" algn="l" defTabSz="932317" rtl="0" eaLnBrk="1" latinLnBrk="0" hangingPunct="1">
        <a:defRPr sz="1835" kern="1200">
          <a:solidFill>
            <a:schemeClr val="tx1"/>
          </a:solidFill>
          <a:latin typeface="+mn-lt"/>
          <a:ea typeface="+mn-ea"/>
          <a:cs typeface="+mn-cs"/>
        </a:defRPr>
      </a:lvl5pPr>
      <a:lvl6pPr marL="2330792" algn="l" defTabSz="932317" rtl="0" eaLnBrk="1" latinLnBrk="0" hangingPunct="1">
        <a:defRPr sz="1835" kern="1200">
          <a:solidFill>
            <a:schemeClr val="tx1"/>
          </a:solidFill>
          <a:latin typeface="+mn-lt"/>
          <a:ea typeface="+mn-ea"/>
          <a:cs typeface="+mn-cs"/>
        </a:defRPr>
      </a:lvl6pPr>
      <a:lvl7pPr marL="2796950" algn="l" defTabSz="932317" rtl="0" eaLnBrk="1" latinLnBrk="0" hangingPunct="1">
        <a:defRPr sz="1835" kern="1200">
          <a:solidFill>
            <a:schemeClr val="tx1"/>
          </a:solidFill>
          <a:latin typeface="+mn-lt"/>
          <a:ea typeface="+mn-ea"/>
          <a:cs typeface="+mn-cs"/>
        </a:defRPr>
      </a:lvl7pPr>
      <a:lvl8pPr marL="3263109" algn="l" defTabSz="932317" rtl="0" eaLnBrk="1" latinLnBrk="0" hangingPunct="1">
        <a:defRPr sz="1835" kern="1200">
          <a:solidFill>
            <a:schemeClr val="tx1"/>
          </a:solidFill>
          <a:latin typeface="+mn-lt"/>
          <a:ea typeface="+mn-ea"/>
          <a:cs typeface="+mn-cs"/>
        </a:defRPr>
      </a:lvl8pPr>
      <a:lvl9pPr marL="3729267" algn="l" defTabSz="932317" rtl="0" eaLnBrk="1" latinLnBrk="0" hangingPunct="1">
        <a:defRPr sz="183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664641"/>
      </p:ext>
    </p:extLst>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 id="2147484547" r:id="rId11"/>
    <p:sldLayoutId id="2147484548" r:id="rId12"/>
    <p:sldLayoutId id="2147484549" r:id="rId13"/>
    <p:sldLayoutId id="2147484550" r:id="rId14"/>
    <p:sldLayoutId id="2147484551" r:id="rId15"/>
    <p:sldLayoutId id="2147484552" r:id="rId16"/>
    <p:sldLayoutId id="2147484553" r:id="rId17"/>
    <p:sldLayoutId id="2147484554" r:id="rId18"/>
    <p:sldLayoutId id="2147484555" r:id="rId19"/>
    <p:sldLayoutId id="2147484556" r:id="rId20"/>
    <p:sldLayoutId id="2147484557" r:id="rId21"/>
    <p:sldLayoutId id="2147484558" r:id="rId22"/>
    <p:sldLayoutId id="2147484559" r:id="rId23"/>
    <p:sldLayoutId id="2147484560" r:id="rId24"/>
    <p:sldLayoutId id="2147484561" r:id="rId25"/>
    <p:sldLayoutId id="2147484562" r:id="rId26"/>
    <p:sldLayoutId id="2147484563" r:id="rId27"/>
  </p:sldLayoutIdLst>
  <p:transition>
    <p:fade/>
  </p:transition>
  <p:txStyles>
    <p:titleStyle>
      <a:lvl1pPr algn="l" defTabSz="932660"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0" marR="0" indent="-342870" algn="l" defTabSz="932660"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9" marR="0" indent="-241279" algn="l" defTabSz="93266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30"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609"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89" marR="0" indent="-228580" algn="l" defTabSz="93266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814"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45"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75"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07" indent="-233165" algn="l" defTabSz="9326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0" rtl="0" eaLnBrk="1" latinLnBrk="0" hangingPunct="1">
        <a:defRPr sz="1800" kern="1200">
          <a:solidFill>
            <a:schemeClr val="tx1"/>
          </a:solidFill>
          <a:latin typeface="+mn-lt"/>
          <a:ea typeface="+mn-ea"/>
          <a:cs typeface="+mn-cs"/>
        </a:defRPr>
      </a:lvl1pPr>
      <a:lvl2pPr marL="466330" algn="l" defTabSz="932660" rtl="0" eaLnBrk="1" latinLnBrk="0" hangingPunct="1">
        <a:defRPr sz="1800" kern="1200">
          <a:solidFill>
            <a:schemeClr val="tx1"/>
          </a:solidFill>
          <a:latin typeface="+mn-lt"/>
          <a:ea typeface="+mn-ea"/>
          <a:cs typeface="+mn-cs"/>
        </a:defRPr>
      </a:lvl2pPr>
      <a:lvl3pPr marL="932660" algn="l" defTabSz="932660" rtl="0" eaLnBrk="1" latinLnBrk="0" hangingPunct="1">
        <a:defRPr sz="1800" kern="1200">
          <a:solidFill>
            <a:schemeClr val="tx1"/>
          </a:solidFill>
          <a:latin typeface="+mn-lt"/>
          <a:ea typeface="+mn-ea"/>
          <a:cs typeface="+mn-cs"/>
        </a:defRPr>
      </a:lvl3pPr>
      <a:lvl4pPr marL="1398990" algn="l" defTabSz="932660" rtl="0" eaLnBrk="1" latinLnBrk="0" hangingPunct="1">
        <a:defRPr sz="1800" kern="1200">
          <a:solidFill>
            <a:schemeClr val="tx1"/>
          </a:solidFill>
          <a:latin typeface="+mn-lt"/>
          <a:ea typeface="+mn-ea"/>
          <a:cs typeface="+mn-cs"/>
        </a:defRPr>
      </a:lvl4pPr>
      <a:lvl5pPr marL="1865320" algn="l" defTabSz="932660" rtl="0" eaLnBrk="1" latinLnBrk="0" hangingPunct="1">
        <a:defRPr sz="1800" kern="1200">
          <a:solidFill>
            <a:schemeClr val="tx1"/>
          </a:solidFill>
          <a:latin typeface="+mn-lt"/>
          <a:ea typeface="+mn-ea"/>
          <a:cs typeface="+mn-cs"/>
        </a:defRPr>
      </a:lvl5pPr>
      <a:lvl6pPr marL="2331651" algn="l" defTabSz="932660" rtl="0" eaLnBrk="1" latinLnBrk="0" hangingPunct="1">
        <a:defRPr sz="1800" kern="1200">
          <a:solidFill>
            <a:schemeClr val="tx1"/>
          </a:solidFill>
          <a:latin typeface="+mn-lt"/>
          <a:ea typeface="+mn-ea"/>
          <a:cs typeface="+mn-cs"/>
        </a:defRPr>
      </a:lvl6pPr>
      <a:lvl7pPr marL="2797979" algn="l" defTabSz="932660" rtl="0" eaLnBrk="1" latinLnBrk="0" hangingPunct="1">
        <a:defRPr sz="1800" kern="1200">
          <a:solidFill>
            <a:schemeClr val="tx1"/>
          </a:solidFill>
          <a:latin typeface="+mn-lt"/>
          <a:ea typeface="+mn-ea"/>
          <a:cs typeface="+mn-cs"/>
        </a:defRPr>
      </a:lvl7pPr>
      <a:lvl8pPr marL="3264310" algn="l" defTabSz="932660" rtl="0" eaLnBrk="1" latinLnBrk="0" hangingPunct="1">
        <a:defRPr sz="1800" kern="1200">
          <a:solidFill>
            <a:schemeClr val="tx1"/>
          </a:solidFill>
          <a:latin typeface="+mn-lt"/>
          <a:ea typeface="+mn-ea"/>
          <a:cs typeface="+mn-cs"/>
        </a:defRPr>
      </a:lvl8pPr>
      <a:lvl9pPr marL="3730640" algn="l" defTabSz="93266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882933316"/>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 id="2147484651" r:id="rId12"/>
    <p:sldLayoutId id="2147484652" r:id="rId13"/>
    <p:sldLayoutId id="2147484653" r:id="rId14"/>
    <p:sldLayoutId id="2147484654" r:id="rId15"/>
    <p:sldLayoutId id="2147484655" r:id="rId16"/>
    <p:sldLayoutId id="2147484656" r:id="rId17"/>
    <p:sldLayoutId id="2147484657" r:id="rId18"/>
    <p:sldLayoutId id="2147484658"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938303"/>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62" r:id="rId3"/>
    <p:sldLayoutId id="2147484663" r:id="rId4"/>
    <p:sldLayoutId id="2147484664" r:id="rId5"/>
    <p:sldLayoutId id="2147484665" r:id="rId6"/>
    <p:sldLayoutId id="2147484666" r:id="rId7"/>
    <p:sldLayoutId id="2147484667" r:id="rId8"/>
    <p:sldLayoutId id="2147484668" r:id="rId9"/>
    <p:sldLayoutId id="2147484669" r:id="rId10"/>
    <p:sldLayoutId id="2147484670" r:id="rId1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081086216"/>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 id="2147484718" r:id="rId14"/>
    <p:sldLayoutId id="2147484719" r:id="rId15"/>
    <p:sldLayoutId id="2147484720" r:id="rId16"/>
    <p:sldLayoutId id="2147484721" r:id="rId17"/>
    <p:sldLayoutId id="2147484722" r:id="rId18"/>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9"/>
            <a:ext cx="10726460" cy="1351952"/>
          </a:xfrm>
          <a:prstGeom prst="rect">
            <a:avLst/>
          </a:prstGeom>
        </p:spPr>
        <p:txBody>
          <a:bodyPr vert="horz" lIns="91440" tIns="45721" rIns="91440" bIns="45721"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1" rIns="91440" bIns="4572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94"/>
            <a:ext cx="2798207" cy="372394"/>
          </a:xfrm>
          <a:prstGeom prst="rect">
            <a:avLst/>
          </a:prstGeom>
        </p:spPr>
        <p:txBody>
          <a:bodyPr vert="horz" lIns="91440" tIns="45721" rIns="91440" bIns="45721" rtlCol="0" anchor="ctr"/>
          <a:lstStyle>
            <a:lvl1pPr algn="l">
              <a:defRPr sz="1224">
                <a:solidFill>
                  <a:schemeClr val="tx1">
                    <a:tint val="75000"/>
                  </a:schemeClr>
                </a:solidFill>
              </a:defRPr>
            </a:lvl1pPr>
          </a:lstStyle>
          <a:p>
            <a:pPr defTabSz="699443"/>
            <a:fld id="{E0544FC6-2001-45D1-A14A-907CDA3AAF03}" type="datetime1">
              <a:rPr lang="en-US" smtClean="0">
                <a:solidFill>
                  <a:prstClr val="black">
                    <a:tint val="75000"/>
                  </a:prstClr>
                </a:solidFill>
              </a:rPr>
              <a:pPr defTabSz="699443"/>
              <a:t>2/26/2019</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94"/>
            <a:ext cx="4197310" cy="372394"/>
          </a:xfrm>
          <a:prstGeom prst="rect">
            <a:avLst/>
          </a:prstGeom>
        </p:spPr>
        <p:txBody>
          <a:bodyPr vert="horz" lIns="91440" tIns="45721" rIns="91440" bIns="45721" rtlCol="0" anchor="ctr"/>
          <a:lstStyle>
            <a:lvl1pPr algn="ctr">
              <a:defRPr sz="1224">
                <a:solidFill>
                  <a:schemeClr val="tx1">
                    <a:tint val="75000"/>
                  </a:schemeClr>
                </a:solidFill>
              </a:defRPr>
            </a:lvl1pPr>
          </a:lstStyle>
          <a:p>
            <a:pPr defTabSz="699443"/>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94"/>
            <a:ext cx="2798207" cy="372394"/>
          </a:xfrm>
          <a:prstGeom prst="rect">
            <a:avLst/>
          </a:prstGeom>
        </p:spPr>
        <p:txBody>
          <a:bodyPr vert="horz" lIns="91440" tIns="45721" rIns="91440" bIns="45721" rtlCol="0" anchor="ctr"/>
          <a:lstStyle>
            <a:lvl1pPr algn="r">
              <a:defRPr sz="1224">
                <a:solidFill>
                  <a:schemeClr val="tx1">
                    <a:tint val="75000"/>
                  </a:schemeClr>
                </a:solidFill>
              </a:defRPr>
            </a:lvl1pPr>
          </a:lstStyle>
          <a:p>
            <a:pPr defTabSz="699443"/>
            <a:fld id="{16C54476-6401-4E35-8A55-C92A753C2722}" type="slidenum">
              <a:rPr lang="en-US" smtClean="0">
                <a:solidFill>
                  <a:prstClr val="black">
                    <a:tint val="75000"/>
                  </a:prstClr>
                </a:solidFill>
              </a:rPr>
              <a:pPr defTabSz="699443"/>
              <a:t>‹#›</a:t>
            </a:fld>
            <a:endParaRPr lang="en-US">
              <a:solidFill>
                <a:prstClr val="black">
                  <a:tint val="75000"/>
                </a:prstClr>
              </a:solidFill>
            </a:endParaRPr>
          </a:p>
        </p:txBody>
      </p:sp>
      <p:pic>
        <p:nvPicPr>
          <p:cNvPr id="7" name="Picture 6"/>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0" y="0"/>
            <a:ext cx="12436475" cy="6993533"/>
          </a:xfrm>
          <a:prstGeom prst="rect">
            <a:avLst/>
          </a:prstGeom>
        </p:spPr>
      </p:pic>
      <p:sp>
        <p:nvSpPr>
          <p:cNvPr id="8" name="Rectangle 7"/>
          <p:cNvSpPr/>
          <p:nvPr userDrawn="1"/>
        </p:nvSpPr>
        <p:spPr bwMode="auto">
          <a:xfrm>
            <a:off x="1" y="993"/>
            <a:ext cx="12436476" cy="6993533"/>
          </a:xfrm>
          <a:prstGeom prst="rect">
            <a:avLst/>
          </a:prstGeom>
          <a:solidFill>
            <a:schemeClr val="bg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9238563"/>
      </p:ext>
    </p:extLst>
  </p:cSld>
  <p:clrMap bg1="lt1" tx1="dk1" bg2="lt2" tx2="dk2" accent1="accent1" accent2="accent2" accent3="accent3" accent4="accent4" accent5="accent5" accent6="accent6" hlink="hlink" folHlink="folHlink"/>
  <p:sldLayoutIdLst>
    <p:sldLayoutId id="2147484724" r:id="rId1"/>
    <p:sldLayoutId id="2147484725" r:id="rId2"/>
    <p:sldLayoutId id="2147484726" r:id="rId3"/>
    <p:sldLayoutId id="2147484727" r:id="rId4"/>
    <p:sldLayoutId id="2147484728" r:id="rId5"/>
    <p:sldLayoutId id="2147484729" r:id="rId6"/>
    <p:sldLayoutId id="2147484730" r:id="rId7"/>
    <p:sldLayoutId id="2147484731" r:id="rId8"/>
    <p:sldLayoutId id="2147484732" r:id="rId9"/>
    <p:sldLayoutId id="2147484733" r:id="rId10"/>
    <p:sldLayoutId id="2147484734" r:id="rId11"/>
    <p:sldLayoutId id="2147484735" r:id="rId12"/>
  </p:sldLayoutIdLst>
  <p:hf hdr="0" ftr="0" dt="0"/>
  <p:txStyles>
    <p:titleStyle>
      <a:lvl1pPr algn="l" defTabSz="932569" rtl="0" eaLnBrk="1" latinLnBrk="0" hangingPunct="1">
        <a:lnSpc>
          <a:spcPct val="90000"/>
        </a:lnSpc>
        <a:spcBef>
          <a:spcPct val="0"/>
        </a:spcBef>
        <a:buNone/>
        <a:defRPr sz="4513" kern="1200">
          <a:solidFill>
            <a:schemeClr val="tx1"/>
          </a:solidFill>
          <a:latin typeface="+mj-lt"/>
          <a:ea typeface="+mj-ea"/>
          <a:cs typeface="+mj-cs"/>
        </a:defRPr>
      </a:lvl1pPr>
    </p:titleStyle>
    <p:bodyStyle>
      <a:lvl1pPr marL="233143" indent="-233143" algn="l" defTabSz="932569" rtl="0" eaLnBrk="1" latinLnBrk="0" hangingPunct="1">
        <a:lnSpc>
          <a:spcPct val="90000"/>
        </a:lnSpc>
        <a:spcBef>
          <a:spcPts val="1020"/>
        </a:spcBef>
        <a:buFont typeface="Arial" panose="020B0604020202020204" pitchFamily="34" charset="0"/>
        <a:buChar char="•"/>
        <a:defRPr sz="2907" kern="1200">
          <a:solidFill>
            <a:schemeClr val="tx1"/>
          </a:solidFill>
          <a:latin typeface="+mn-lt"/>
          <a:ea typeface="+mn-ea"/>
          <a:cs typeface="+mn-cs"/>
        </a:defRPr>
      </a:lvl1pPr>
      <a:lvl2pPr marL="699430" indent="-233143" algn="l" defTabSz="932569"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12" indent="-233143" algn="l" defTabSz="932569" rtl="0" eaLnBrk="1" latinLnBrk="0" hangingPunct="1">
        <a:lnSpc>
          <a:spcPct val="90000"/>
        </a:lnSpc>
        <a:spcBef>
          <a:spcPts val="510"/>
        </a:spcBef>
        <a:buFont typeface="Arial" panose="020B0604020202020204" pitchFamily="34" charset="0"/>
        <a:buChar char="•"/>
        <a:defRPr sz="2065" kern="1200">
          <a:solidFill>
            <a:schemeClr val="tx1"/>
          </a:solidFill>
          <a:latin typeface="+mn-lt"/>
          <a:ea typeface="+mn-ea"/>
          <a:cs typeface="+mn-cs"/>
        </a:defRPr>
      </a:lvl3pPr>
      <a:lvl4pPr marL="1631997"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280"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66"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52"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35"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21" indent="-233143" algn="l" defTabSz="93256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69" rtl="0" eaLnBrk="1" latinLnBrk="0" hangingPunct="1">
        <a:defRPr sz="1836" kern="1200">
          <a:solidFill>
            <a:schemeClr val="tx1"/>
          </a:solidFill>
          <a:latin typeface="+mn-lt"/>
          <a:ea typeface="+mn-ea"/>
          <a:cs typeface="+mn-cs"/>
        </a:defRPr>
      </a:lvl1pPr>
      <a:lvl2pPr marL="466287" algn="l" defTabSz="932569" rtl="0" eaLnBrk="1" latinLnBrk="0" hangingPunct="1">
        <a:defRPr sz="1836" kern="1200">
          <a:solidFill>
            <a:schemeClr val="tx1"/>
          </a:solidFill>
          <a:latin typeface="+mn-lt"/>
          <a:ea typeface="+mn-ea"/>
          <a:cs typeface="+mn-cs"/>
        </a:defRPr>
      </a:lvl2pPr>
      <a:lvl3pPr marL="932569" algn="l" defTabSz="932569" rtl="0" eaLnBrk="1" latinLnBrk="0" hangingPunct="1">
        <a:defRPr sz="1836" kern="1200">
          <a:solidFill>
            <a:schemeClr val="tx1"/>
          </a:solidFill>
          <a:latin typeface="+mn-lt"/>
          <a:ea typeface="+mn-ea"/>
          <a:cs typeface="+mn-cs"/>
        </a:defRPr>
      </a:lvl3pPr>
      <a:lvl4pPr marL="1398854" algn="l" defTabSz="932569" rtl="0" eaLnBrk="1" latinLnBrk="0" hangingPunct="1">
        <a:defRPr sz="1836" kern="1200">
          <a:solidFill>
            <a:schemeClr val="tx1"/>
          </a:solidFill>
          <a:latin typeface="+mn-lt"/>
          <a:ea typeface="+mn-ea"/>
          <a:cs typeface="+mn-cs"/>
        </a:defRPr>
      </a:lvl4pPr>
      <a:lvl5pPr marL="1865139" algn="l" defTabSz="932569" rtl="0" eaLnBrk="1" latinLnBrk="0" hangingPunct="1">
        <a:defRPr sz="1836" kern="1200">
          <a:solidFill>
            <a:schemeClr val="tx1"/>
          </a:solidFill>
          <a:latin typeface="+mn-lt"/>
          <a:ea typeface="+mn-ea"/>
          <a:cs typeface="+mn-cs"/>
        </a:defRPr>
      </a:lvl5pPr>
      <a:lvl6pPr marL="2331423" algn="l" defTabSz="932569" rtl="0" eaLnBrk="1" latinLnBrk="0" hangingPunct="1">
        <a:defRPr sz="1836" kern="1200">
          <a:solidFill>
            <a:schemeClr val="tx1"/>
          </a:solidFill>
          <a:latin typeface="+mn-lt"/>
          <a:ea typeface="+mn-ea"/>
          <a:cs typeface="+mn-cs"/>
        </a:defRPr>
      </a:lvl6pPr>
      <a:lvl7pPr marL="2797710" algn="l" defTabSz="932569" rtl="0" eaLnBrk="1" latinLnBrk="0" hangingPunct="1">
        <a:defRPr sz="1836" kern="1200">
          <a:solidFill>
            <a:schemeClr val="tx1"/>
          </a:solidFill>
          <a:latin typeface="+mn-lt"/>
          <a:ea typeface="+mn-ea"/>
          <a:cs typeface="+mn-cs"/>
        </a:defRPr>
      </a:lvl7pPr>
      <a:lvl8pPr marL="3263994" algn="l" defTabSz="932569" rtl="0" eaLnBrk="1" latinLnBrk="0" hangingPunct="1">
        <a:defRPr sz="1836" kern="1200">
          <a:solidFill>
            <a:schemeClr val="tx1"/>
          </a:solidFill>
          <a:latin typeface="+mn-lt"/>
          <a:ea typeface="+mn-ea"/>
          <a:cs typeface="+mn-cs"/>
        </a:defRPr>
      </a:lvl8pPr>
      <a:lvl9pPr marL="3730278" algn="l" defTabSz="932569"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033896580"/>
      </p:ext>
    </p:extLst>
  </p:cSld>
  <p:clrMap bg1="lt1" tx1="dk1" bg2="lt2" tx2="dk2" accent1="accent1" accent2="accent2" accent3="accent3" accent4="accent4" accent5="accent5" accent6="accent6" hlink="hlink" folHlink="folHlink"/>
  <p:sldLayoutIdLst>
    <p:sldLayoutId id="2147484738" r:id="rId1"/>
    <p:sldLayoutId id="2147484739" r:id="rId2"/>
    <p:sldLayoutId id="2147484740" r:id="rId3"/>
    <p:sldLayoutId id="2147484741" r:id="rId4"/>
    <p:sldLayoutId id="2147484742" r:id="rId5"/>
    <p:sldLayoutId id="2147484743" r:id="rId6"/>
    <p:sldLayoutId id="2147484744" r:id="rId7"/>
    <p:sldLayoutId id="2147484745" r:id="rId8"/>
    <p:sldLayoutId id="2147484746" r:id="rId9"/>
    <p:sldLayoutId id="2147484747" r:id="rId10"/>
    <p:sldLayoutId id="2147484748" r:id="rId11"/>
    <p:sldLayoutId id="2147484749" r:id="rId12"/>
    <p:sldLayoutId id="2147484750"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1"/>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2176383159"/>
      </p:ext>
    </p:extLst>
  </p:cSld>
  <p:clrMap bg1="dk1" tx1="lt1" bg2="dk2" tx2="lt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 id="2147484766" r:id="rId15"/>
    <p:sldLayoutId id="2147484767" r:id="rId16"/>
    <p:sldLayoutId id="2147484768" r:id="rId17"/>
    <p:sldLayoutId id="2147484769" r:id="rId18"/>
    <p:sldLayoutId id="2147484770" r:id="rId19"/>
    <p:sldLayoutId id="2147484771" r:id="rId20"/>
    <p:sldLayoutId id="2147484772" r:id="rId21"/>
    <p:sldLayoutId id="2147484773" r:id="rId22"/>
    <p:sldLayoutId id="2147484774" r:id="rId23"/>
    <p:sldLayoutId id="2147484775" r:id="rId24"/>
    <p:sldLayoutId id="2147484776" r:id="rId25"/>
    <p:sldLayoutId id="2147484777" r:id="rId26"/>
    <p:sldLayoutId id="2147484778" r:id="rId27"/>
    <p:sldLayoutId id="2147484779" r:id="rId28"/>
    <p:sldLayoutId id="2147484780" r:id="rId2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3"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8" kern="1200" spc="0" baseline="0">
          <a:gradFill>
            <a:gsLst>
              <a:gs pos="1250">
                <a:schemeClr val="tx1"/>
              </a:gs>
              <a:gs pos="100000">
                <a:schemeClr val="tx1"/>
              </a:gs>
            </a:gsLst>
            <a:lin ang="5400000" scaled="0"/>
          </a:gradFill>
          <a:latin typeface="+mj-lt"/>
          <a:ea typeface="+mn-ea"/>
          <a:cs typeface="+mn-cs"/>
        </a:defRPr>
      </a:lvl1pPr>
      <a:lvl2pPr marL="457024"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537"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049"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561" marR="0" indent="-228513" algn="l" defTabSz="93238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6"/>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10" y="6482891"/>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2/26/2019</a:t>
            </a:fld>
            <a:endParaRPr lang="en-US"/>
          </a:p>
        </p:txBody>
      </p:sp>
      <p:sp>
        <p:nvSpPr>
          <p:cNvPr id="5" name="Footer Placeholder 4"/>
          <p:cNvSpPr>
            <a:spLocks noGrp="1"/>
          </p:cNvSpPr>
          <p:nvPr>
            <p:ph type="ftr" sz="quarter" idx="3"/>
          </p:nvPr>
        </p:nvSpPr>
        <p:spPr>
          <a:xfrm>
            <a:off x="4119583" y="6482891"/>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1"/>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356266926"/>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 id="2147484806" r:id="rId25"/>
    <p:sldLayoutId id="2147484807" r:id="rId26"/>
    <p:sldLayoutId id="2147484808" r:id="rId27"/>
    <p:sldLayoutId id="2147484809" r:id="rId28"/>
    <p:sldLayoutId id="2147484810" r:id="rId29"/>
    <p:sldLayoutId id="2147484811" r:id="rId30"/>
    <p:sldLayoutId id="2147484812" r:id="rId31"/>
    <p:sldLayoutId id="2147484813" r:id="rId32"/>
    <p:sldLayoutId id="2147484814" r:id="rId33"/>
    <p:sldLayoutId id="2147484815" r:id="rId34"/>
    <p:sldLayoutId id="2147484816" r:id="rId35"/>
    <p:sldLayoutId id="2147484817" r:id="rId36"/>
    <p:sldLayoutId id="2147484818" r:id="rId37"/>
    <p:sldLayoutId id="2147484819" r:id="rId38"/>
    <p:sldLayoutId id="2147484820" r:id="rId39"/>
    <p:sldLayoutId id="2147484821" r:id="rId40"/>
    <p:sldLayoutId id="2147484822" r:id="rId41"/>
    <p:sldLayoutId id="2147484823" r:id="rId42"/>
    <p:sldLayoutId id="2147484824" r:id="rId43"/>
    <p:sldLayoutId id="2147484825" r:id="rId44"/>
    <p:sldLayoutId id="2147484826" r:id="rId45"/>
  </p:sldLayoutIdLst>
  <p:txStyles>
    <p:titleStyle>
      <a:lvl1pPr algn="l" defTabSz="932239"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059" indent="-233059" algn="l" defTabSz="932239"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179" indent="-233059" algn="l" defTabSz="932239"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298" indent="-233059" algn="l" defTabSz="932239"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418"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537"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3656"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29775"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5894"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013" indent="-233059" algn="l" defTabSz="93223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239" rtl="0" eaLnBrk="1" latinLnBrk="0" hangingPunct="1">
        <a:defRPr sz="1836" kern="1200">
          <a:solidFill>
            <a:schemeClr val="tx1"/>
          </a:solidFill>
          <a:latin typeface="+mn-lt"/>
          <a:ea typeface="+mn-ea"/>
          <a:cs typeface="+mn-cs"/>
        </a:defRPr>
      </a:lvl1pPr>
      <a:lvl2pPr marL="466120" algn="l" defTabSz="932239" rtl="0" eaLnBrk="1" latinLnBrk="0" hangingPunct="1">
        <a:defRPr sz="1836" kern="1200">
          <a:solidFill>
            <a:schemeClr val="tx1"/>
          </a:solidFill>
          <a:latin typeface="+mn-lt"/>
          <a:ea typeface="+mn-ea"/>
          <a:cs typeface="+mn-cs"/>
        </a:defRPr>
      </a:lvl2pPr>
      <a:lvl3pPr marL="932239" algn="l" defTabSz="932239" rtl="0" eaLnBrk="1" latinLnBrk="0" hangingPunct="1">
        <a:defRPr sz="1836" kern="1200">
          <a:solidFill>
            <a:schemeClr val="tx1"/>
          </a:solidFill>
          <a:latin typeface="+mn-lt"/>
          <a:ea typeface="+mn-ea"/>
          <a:cs typeface="+mn-cs"/>
        </a:defRPr>
      </a:lvl3pPr>
      <a:lvl4pPr marL="1398358" algn="l" defTabSz="932239" rtl="0" eaLnBrk="1" latinLnBrk="0" hangingPunct="1">
        <a:defRPr sz="1836" kern="1200">
          <a:solidFill>
            <a:schemeClr val="tx1"/>
          </a:solidFill>
          <a:latin typeface="+mn-lt"/>
          <a:ea typeface="+mn-ea"/>
          <a:cs typeface="+mn-cs"/>
        </a:defRPr>
      </a:lvl4pPr>
      <a:lvl5pPr marL="1864477" algn="l" defTabSz="932239" rtl="0" eaLnBrk="1" latinLnBrk="0" hangingPunct="1">
        <a:defRPr sz="1836" kern="1200">
          <a:solidFill>
            <a:schemeClr val="tx1"/>
          </a:solidFill>
          <a:latin typeface="+mn-lt"/>
          <a:ea typeface="+mn-ea"/>
          <a:cs typeface="+mn-cs"/>
        </a:defRPr>
      </a:lvl5pPr>
      <a:lvl6pPr marL="2330596" algn="l" defTabSz="932239" rtl="0" eaLnBrk="1" latinLnBrk="0" hangingPunct="1">
        <a:defRPr sz="1836" kern="1200">
          <a:solidFill>
            <a:schemeClr val="tx1"/>
          </a:solidFill>
          <a:latin typeface="+mn-lt"/>
          <a:ea typeface="+mn-ea"/>
          <a:cs typeface="+mn-cs"/>
        </a:defRPr>
      </a:lvl6pPr>
      <a:lvl7pPr marL="2796716" algn="l" defTabSz="932239" rtl="0" eaLnBrk="1" latinLnBrk="0" hangingPunct="1">
        <a:defRPr sz="1836" kern="1200">
          <a:solidFill>
            <a:schemeClr val="tx1"/>
          </a:solidFill>
          <a:latin typeface="+mn-lt"/>
          <a:ea typeface="+mn-ea"/>
          <a:cs typeface="+mn-cs"/>
        </a:defRPr>
      </a:lvl7pPr>
      <a:lvl8pPr marL="3262835" algn="l" defTabSz="932239" rtl="0" eaLnBrk="1" latinLnBrk="0" hangingPunct="1">
        <a:defRPr sz="1836" kern="1200">
          <a:solidFill>
            <a:schemeClr val="tx1"/>
          </a:solidFill>
          <a:latin typeface="+mn-lt"/>
          <a:ea typeface="+mn-ea"/>
          <a:cs typeface="+mn-cs"/>
        </a:defRPr>
      </a:lvl8pPr>
      <a:lvl9pPr marL="3728953" algn="l" defTabSz="93223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6.xml"/></Relationships>
</file>

<file path=ppt/slides/_rels/slide11.xml.rels><?xml version="1.0" encoding="UTF-8" standalone="yes"?>
<Relationships xmlns="http://schemas.openxmlformats.org/package/2006/relationships"><Relationship Id="rId3" Type="http://schemas.openxmlformats.org/officeDocument/2006/relationships/hyperlink" Target="http://aka.ms/asfp" TargetMode="External"/><Relationship Id="rId2" Type="http://schemas.openxmlformats.org/officeDocument/2006/relationships/notesSlide" Target="../notesSlides/notesSlide9.xml"/><Relationship Id="rId1" Type="http://schemas.openxmlformats.org/officeDocument/2006/relationships/slideLayout" Target="../slideLayouts/slideLayout110.xml"/><Relationship Id="rId6" Type="http://schemas.openxmlformats.org/officeDocument/2006/relationships/hyperlink" Target="http://aka.ms/PTSOverviewVideos" TargetMode="External"/><Relationship Id="rId5" Type="http://schemas.openxmlformats.org/officeDocument/2006/relationships/hyperlink" Target="http://aka.ms/CoreBenefits" TargetMode="External"/><Relationship Id="rId4" Type="http://schemas.openxmlformats.org/officeDocument/2006/relationships/hyperlink" Target="http://aka.ms/premier"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4.xml"/></Relationships>
</file>

<file path=ppt/slides/_rels/slide3.xml.rels><?xml version="1.0" encoding="UTF-8" standalone="yes"?>
<Relationships xmlns="http://schemas.openxmlformats.org/package/2006/relationships"><Relationship Id="rId2" Type="http://schemas.openxmlformats.org/officeDocument/2006/relationships/image" Target="../media/image45.tmp"/><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2" Type="http://schemas.openxmlformats.org/officeDocument/2006/relationships/image" Target="../media/image46.tmp"/><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7.xml"/><Relationship Id="rId16" Type="http://schemas.openxmlformats.org/officeDocument/2006/relationships/image" Target="../media/image64.png"/><Relationship Id="rId1" Type="http://schemas.openxmlformats.org/officeDocument/2006/relationships/slideLayout" Target="../slideLayouts/slideLayout116.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949699" y="2959509"/>
            <a:ext cx="8537079" cy="1075508"/>
          </a:xfrm>
        </p:spPr>
        <p:txBody>
          <a:bodyPr/>
          <a:lstStyle/>
          <a:p>
            <a:r>
              <a:rPr lang="en-US" dirty="0"/>
              <a:t>Azure Go </a:t>
            </a:r>
            <a:r>
              <a:rPr lang="en-US"/>
              <a:t>to Market</a:t>
            </a:r>
            <a:endParaRPr lang="en-US" dirty="0"/>
          </a:p>
        </p:txBody>
      </p:sp>
    </p:spTree>
    <p:extLst>
      <p:ext uri="{BB962C8B-B14F-4D97-AF65-F5344CB8AC3E}">
        <p14:creationId xmlns:p14="http://schemas.microsoft.com/office/powerpoint/2010/main" val="4086057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3013699" y="2696454"/>
            <a:ext cx="8951996" cy="32636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5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a:ea typeface="Segoe UI" pitchFamily="34" charset="0"/>
                <a:cs typeface="Segoe UI Semibold" panose="020B0702040204020203" pitchFamily="34" charset="0"/>
              </a:rPr>
              <a:t>Partner</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dvisory Hours, Technical Presales Assistance, Partner Support Community</a:t>
            </a:r>
          </a:p>
        </p:txBody>
      </p:sp>
      <p:sp>
        <p:nvSpPr>
          <p:cNvPr id="34" name="Rectangle 33"/>
          <p:cNvSpPr/>
          <p:nvPr/>
        </p:nvSpPr>
        <p:spPr bwMode="auto">
          <a:xfrm>
            <a:off x="3013700" y="3848207"/>
            <a:ext cx="8954775" cy="32999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a:ea typeface="Segoe UI" pitchFamily="34" charset="0"/>
                <a:cs typeface="Segoe UI Semibold" panose="020B0702040204020203" pitchFamily="34" charset="0"/>
              </a:rPr>
              <a:t>Partner</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dvisory Hours, Technical Presales Assistance, Partner Support Community</a:t>
            </a:r>
          </a:p>
        </p:txBody>
      </p:sp>
      <p:sp>
        <p:nvSpPr>
          <p:cNvPr id="30" name="Rectangle 29"/>
          <p:cNvSpPr/>
          <p:nvPr/>
        </p:nvSpPr>
        <p:spPr bwMode="auto">
          <a:xfrm>
            <a:off x="3013699" y="5053053"/>
            <a:ext cx="8954774" cy="339151"/>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5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artner Advisory Hours (with your first cloud sale), Partner Support Community</a:t>
            </a:r>
          </a:p>
        </p:txBody>
      </p:sp>
      <p:sp>
        <p:nvSpPr>
          <p:cNvPr id="31" name="Rectangle 30"/>
          <p:cNvSpPr/>
          <p:nvPr/>
        </p:nvSpPr>
        <p:spPr bwMode="auto">
          <a:xfrm>
            <a:off x="3013700" y="5424728"/>
            <a:ext cx="8954774" cy="3356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26" name="Rectangle 25"/>
          <p:cNvSpPr/>
          <p:nvPr/>
        </p:nvSpPr>
        <p:spPr bwMode="auto">
          <a:xfrm>
            <a:off x="3013700" y="5815988"/>
            <a:ext cx="8954774" cy="33568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751" fontAlgn="base">
              <a:spcBef>
                <a:spcPct val="0"/>
              </a:spcBef>
              <a:spcAft>
                <a:spcPct val="0"/>
              </a:spcAft>
              <a:defRPr/>
            </a:pPr>
            <a:r>
              <a:rPr lang="en-US" sz="1224" kern="0" dirty="0">
                <a:solidFill>
                  <a:sysClr val="windowText" lastClr="000000"/>
                </a:solidFill>
                <a:latin typeface="Segoe UI"/>
                <a:ea typeface="Segoe UI" pitchFamily="34" charset="0"/>
                <a:cs typeface="Segoe UI" pitchFamily="34" charset="0"/>
              </a:rPr>
              <a:t>Partner Support Community</a:t>
            </a:r>
          </a:p>
        </p:txBody>
      </p:sp>
      <p:sp>
        <p:nvSpPr>
          <p:cNvPr id="27" name="Rectangle 26"/>
          <p:cNvSpPr/>
          <p:nvPr/>
        </p:nvSpPr>
        <p:spPr bwMode="auto">
          <a:xfrm>
            <a:off x="3013700" y="6189772"/>
            <a:ext cx="8954774" cy="33568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751" fontAlgn="base">
              <a:spcBef>
                <a:spcPct val="0"/>
              </a:spcBef>
              <a:spcAft>
                <a:spcPct val="0"/>
              </a:spcAft>
              <a:defRPr/>
            </a:pPr>
            <a:r>
              <a:rPr lang="en-US" sz="1224" kern="0" dirty="0">
                <a:solidFill>
                  <a:sysClr val="windowText" lastClr="000000"/>
                </a:solidFill>
                <a:latin typeface="Segoe UI"/>
                <a:ea typeface="Segoe UI" pitchFamily="34" charset="0"/>
                <a:cs typeface="Segoe UI" pitchFamily="34" charset="0"/>
              </a:rPr>
              <a:t>Online Interactive Sessions</a:t>
            </a:r>
          </a:p>
        </p:txBody>
      </p:sp>
      <p:sp>
        <p:nvSpPr>
          <p:cNvPr id="58" name="Rectangle 57"/>
          <p:cNvSpPr/>
          <p:nvPr/>
        </p:nvSpPr>
        <p:spPr bwMode="auto">
          <a:xfrm>
            <a:off x="9095505" y="1214921"/>
            <a:ext cx="2870685"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50751"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On Premises</a:t>
            </a:r>
            <a:endParaRPr lang="en-US" sz="1428" kern="0" dirty="0">
              <a:solidFill>
                <a:srgbClr val="FFFFFF"/>
              </a:solidFill>
              <a:latin typeface="Segoe UI"/>
              <a:ea typeface="Segoe UI" pitchFamily="34" charset="0"/>
              <a:cs typeface="Segoe UI" pitchFamily="34" charset="0"/>
            </a:endParaRPr>
          </a:p>
          <a:p>
            <a:pPr defTabSz="950751" fontAlgn="base">
              <a:spcBef>
                <a:spcPct val="0"/>
              </a:spcBef>
              <a:spcAft>
                <a:spcPct val="0"/>
              </a:spcAft>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122" kern="0" dirty="0">
                <a:solidFill>
                  <a:srgbClr val="FFFFFF"/>
                </a:solidFill>
                <a:latin typeface="Segoe UI"/>
                <a:ea typeface="Segoe UI" pitchFamily="34" charset="0"/>
                <a:cs typeface="Segoe UI" pitchFamily="34" charset="0"/>
              </a:rPr>
            </a:br>
            <a:r>
              <a:rPr lang="en-US" sz="1071" kern="0" dirty="0">
                <a:solidFill>
                  <a:srgbClr val="FFFFFF"/>
                </a:solidFill>
                <a:latin typeface="Segoe UI"/>
                <a:ea typeface="Segoe UI" pitchFamily="34" charset="0"/>
                <a:cs typeface="Segoe UI" pitchFamily="34" charset="0"/>
              </a:rPr>
              <a:t>All other</a:t>
            </a:r>
          </a:p>
        </p:txBody>
      </p:sp>
      <p:sp>
        <p:nvSpPr>
          <p:cNvPr id="59" name="Rectangle 58"/>
          <p:cNvSpPr/>
          <p:nvPr/>
        </p:nvSpPr>
        <p:spPr bwMode="auto">
          <a:xfrm>
            <a:off x="2848637" y="1214921"/>
            <a:ext cx="3167114"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t" anchorCtr="0" forceAA="0" compatLnSpc="1">
            <a:prstTxWarp prst="textNoShape">
              <a:avLst/>
            </a:prstTxWarp>
            <a:noAutofit/>
          </a:bodyPr>
          <a:lstStyle/>
          <a:p>
            <a:pPr defTabSz="950568"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Cloud Performance</a:t>
            </a:r>
          </a:p>
          <a:p>
            <a:pPr defTabSz="950568" fontAlgn="base">
              <a:spcBef>
                <a:spcPct val="0"/>
              </a:spcBef>
              <a:spcAft>
                <a:spcPct val="0"/>
              </a:spcAft>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121"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Cloud Platform, Cloud Productivity, Cloud Customer Relationship Management,</a:t>
            </a:r>
            <a:br>
              <a:rPr lang="en-US" sz="1070"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Small and Midmarket Cloud, and</a:t>
            </a:r>
            <a:br>
              <a:rPr lang="en-US" sz="1070" kern="0" dirty="0">
                <a:solidFill>
                  <a:srgbClr val="FFFFFF"/>
                </a:solidFill>
                <a:latin typeface="Segoe UI"/>
                <a:ea typeface="Segoe UI" pitchFamily="34" charset="0"/>
                <a:cs typeface="Segoe UI" pitchFamily="34" charset="0"/>
              </a:rPr>
            </a:br>
            <a:r>
              <a:rPr lang="en-US" sz="1070" kern="0" dirty="0">
                <a:solidFill>
                  <a:srgbClr val="FFFFFF"/>
                </a:solidFill>
                <a:latin typeface="Segoe UI"/>
                <a:ea typeface="Segoe UI" pitchFamily="34" charset="0"/>
                <a:cs typeface="Segoe UI" pitchFamily="34" charset="0"/>
              </a:rPr>
              <a:t>Enterprise Mobility Management</a:t>
            </a:r>
          </a:p>
        </p:txBody>
      </p:sp>
      <p:sp>
        <p:nvSpPr>
          <p:cNvPr id="60" name="Rectangle 59"/>
          <p:cNvSpPr/>
          <p:nvPr/>
        </p:nvSpPr>
        <p:spPr bwMode="auto">
          <a:xfrm>
            <a:off x="6082907" y="1214921"/>
            <a:ext cx="2945438" cy="141735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27974" bIns="46623" numCol="1" spcCol="0" rtlCol="0" fromWordArt="0" anchor="t" anchorCtr="0" forceAA="0" compatLnSpc="1">
            <a:prstTxWarp prst="textNoShape">
              <a:avLst/>
            </a:prstTxWarp>
            <a:noAutofit/>
          </a:bodyPr>
          <a:lstStyle/>
          <a:p>
            <a:pPr defTabSz="950568" fontAlgn="base">
              <a:spcBef>
                <a:spcPct val="0"/>
              </a:spcBef>
              <a:spcAft>
                <a:spcPts val="306"/>
              </a:spcAft>
              <a:defRPr/>
            </a:pPr>
            <a:r>
              <a:rPr lang="en-US" sz="1632" kern="0" dirty="0">
                <a:solidFill>
                  <a:srgbClr val="FFFFFF"/>
                </a:solidFill>
                <a:latin typeface="Segoe UI"/>
                <a:ea typeface="Segoe UI" pitchFamily="34" charset="0"/>
                <a:cs typeface="Segoe UI" pitchFamily="34" charset="0"/>
              </a:rPr>
              <a:t>Hybrid</a:t>
            </a:r>
            <a:endParaRPr lang="en-US" sz="1836" kern="0" dirty="0">
              <a:solidFill>
                <a:srgbClr val="FFFFFF"/>
              </a:solidFill>
              <a:latin typeface="Segoe UI"/>
              <a:ea typeface="Segoe UI" pitchFamily="34" charset="0"/>
              <a:cs typeface="Segoe UI" pitchFamily="34" charset="0"/>
            </a:endParaRPr>
          </a:p>
          <a:p>
            <a:pPr defTabSz="914224">
              <a:defRPr/>
            </a:pPr>
            <a: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t>Competencies: </a:t>
            </a:r>
            <a:br>
              <a:rPr lang="en-US" sz="1428" kern="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071" kern="0" dirty="0">
                <a:solidFill>
                  <a:srgbClr val="FFFFFF"/>
                </a:solidFill>
                <a:latin typeface="Segoe UI"/>
              </a:rPr>
              <a:t>App Dev, Collab &amp; Content, Communication, Data Analytics, Data Platform, Datacenter, Dev &amp; Deployment, Messaging, Mid Market Solution Provider, Project &amp; Portfolio </a:t>
            </a:r>
            <a:r>
              <a:rPr lang="en-US" sz="1071" kern="0" dirty="0" err="1">
                <a:solidFill>
                  <a:srgbClr val="FFFFFF"/>
                </a:solidFill>
                <a:latin typeface="Segoe UI"/>
              </a:rPr>
              <a:t>Mgmt</a:t>
            </a:r>
            <a:r>
              <a:rPr lang="en-US" sz="1071" kern="0" dirty="0">
                <a:solidFill>
                  <a:srgbClr val="FFFFFF"/>
                </a:solidFill>
                <a:latin typeface="Segoe UI"/>
              </a:rPr>
              <a:t>,  and CRM</a:t>
            </a:r>
          </a:p>
        </p:txBody>
      </p:sp>
      <p:sp>
        <p:nvSpPr>
          <p:cNvPr id="2" name="Title 1"/>
          <p:cNvSpPr>
            <a:spLocks noGrp="1"/>
          </p:cNvSpPr>
          <p:nvPr>
            <p:ph type="title"/>
          </p:nvPr>
        </p:nvSpPr>
        <p:spPr/>
        <p:txBody>
          <a:bodyPr/>
          <a:lstStyle/>
          <a:p>
            <a:r>
              <a:rPr lang="en-US" sz="3999" dirty="0">
                <a:gradFill>
                  <a:gsLst>
                    <a:gs pos="1250">
                      <a:srgbClr val="505050"/>
                    </a:gs>
                    <a:gs pos="100000">
                      <a:srgbClr val="505050"/>
                    </a:gs>
                  </a:gsLst>
                  <a:lin ang="5400000" scaled="0"/>
                </a:gradFill>
              </a:rPr>
              <a:t>Microsoft Partner Network Technical Benefits Structure</a:t>
            </a:r>
            <a:endParaRPr lang="en-US" sz="3199" dirty="0">
              <a:solidFill>
                <a:srgbClr val="83B800"/>
              </a:solidFill>
            </a:endParaRPr>
          </a:p>
        </p:txBody>
      </p:sp>
      <p:sp>
        <p:nvSpPr>
          <p:cNvPr id="45" name="Rectangle 44"/>
          <p:cNvSpPr/>
          <p:nvPr/>
        </p:nvSpPr>
        <p:spPr bwMode="auto">
          <a:xfrm>
            <a:off x="6250845" y="3058803"/>
            <a:ext cx="2777501"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a:t>
            </a:r>
            <a:r>
              <a:rPr lang="en-US" sz="1224" kern="0" dirty="0">
                <a:solidFill>
                  <a:sysClr val="windowText" lastClr="000000"/>
                </a:solidFill>
                <a:latin typeface="Segoe UI"/>
                <a:ea typeface="Segoe UI" pitchFamily="34" charset="0"/>
                <a:cs typeface="Segoe UI"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46" name="Rectangle 45"/>
          <p:cNvSpPr/>
          <p:nvPr/>
        </p:nvSpPr>
        <p:spPr bwMode="auto">
          <a:xfrm>
            <a:off x="6250845" y="3436309"/>
            <a:ext cx="2777501"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a:t>
            </a:r>
            <a:r>
              <a:rPr lang="en-US" sz="1224" b="1"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Signature Cloud Support Incidents</a:t>
            </a:r>
          </a:p>
        </p:txBody>
      </p:sp>
      <p:sp>
        <p:nvSpPr>
          <p:cNvPr id="49" name="Rectangle 48"/>
          <p:cNvSpPr/>
          <p:nvPr/>
        </p:nvSpPr>
        <p:spPr bwMode="auto">
          <a:xfrm>
            <a:off x="2848636" y="2696454"/>
            <a:ext cx="167845" cy="32636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6082908" y="3058803"/>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6082908" y="3436309"/>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2848636" y="3848210"/>
            <a:ext cx="167845" cy="327944"/>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2848636" y="5053053"/>
            <a:ext cx="167845" cy="339151"/>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2848636" y="5424728"/>
            <a:ext cx="167845" cy="3356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2848636" y="5815988"/>
            <a:ext cx="167845" cy="335689"/>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p:cNvSpPr/>
          <p:nvPr/>
        </p:nvSpPr>
        <p:spPr bwMode="auto">
          <a:xfrm>
            <a:off x="2848636" y="6189772"/>
            <a:ext cx="167845" cy="3356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Rectangle 53"/>
          <p:cNvSpPr/>
          <p:nvPr/>
        </p:nvSpPr>
        <p:spPr>
          <a:xfrm>
            <a:off x="468004" y="2698325"/>
            <a:ext cx="2312525" cy="108215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Gold</a:t>
            </a:r>
          </a:p>
        </p:txBody>
      </p:sp>
      <p:sp>
        <p:nvSpPr>
          <p:cNvPr id="55" name="Rectangle 54"/>
          <p:cNvSpPr/>
          <p:nvPr/>
        </p:nvSpPr>
        <p:spPr>
          <a:xfrm>
            <a:off x="468002" y="3848206"/>
            <a:ext cx="2312527" cy="108650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Silver</a:t>
            </a:r>
          </a:p>
        </p:txBody>
      </p:sp>
      <p:sp>
        <p:nvSpPr>
          <p:cNvPr id="56" name="Rectangle 55"/>
          <p:cNvSpPr/>
          <p:nvPr/>
        </p:nvSpPr>
        <p:spPr>
          <a:xfrm>
            <a:off x="468000" y="5053051"/>
            <a:ext cx="2312528" cy="70736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Action Pack</a:t>
            </a:r>
          </a:p>
        </p:txBody>
      </p:sp>
      <p:sp>
        <p:nvSpPr>
          <p:cNvPr id="57" name="Rectangle 56"/>
          <p:cNvSpPr/>
          <p:nvPr/>
        </p:nvSpPr>
        <p:spPr>
          <a:xfrm>
            <a:off x="468004" y="5815987"/>
            <a:ext cx="2312525" cy="70947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9023" tIns="167823" rIns="169023" bIns="167823" rtlCol="0" anchor="ctr" anchorCtr="0"/>
          <a:lstStyle/>
          <a:p>
            <a:pPr defTabSz="633904">
              <a:defRPr/>
            </a:pPr>
            <a:r>
              <a:rPr lang="en-US" sz="2448" kern="0" dirty="0">
                <a:solidFill>
                  <a:srgbClr val="FFFFFF"/>
                </a:solidFill>
                <a:latin typeface="Segoe UI Light" pitchFamily="34" charset="0"/>
              </a:rPr>
              <a:t>Network</a:t>
            </a:r>
          </a:p>
        </p:txBody>
      </p:sp>
      <p:cxnSp>
        <p:nvCxnSpPr>
          <p:cNvPr id="61" name="Straight Connector 60"/>
          <p:cNvCxnSpPr/>
          <p:nvPr/>
        </p:nvCxnSpPr>
        <p:spPr>
          <a:xfrm flipV="1">
            <a:off x="468817" y="4993881"/>
            <a:ext cx="1149198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5538311" y="1979548"/>
            <a:ext cx="387122" cy="595447"/>
            <a:chOff x="3154801" y="1222460"/>
            <a:chExt cx="524030" cy="806030"/>
          </a:xfrm>
        </p:grpSpPr>
        <p:sp>
          <p:nvSpPr>
            <p:cNvPr id="76" name="Freeform 17"/>
            <p:cNvSpPr>
              <a:spLocks noEditPoints="1"/>
            </p:cNvSpPr>
            <p:nvPr/>
          </p:nvSpPr>
          <p:spPr bwMode="black">
            <a:xfrm>
              <a:off x="3271241" y="1528052"/>
              <a:ext cx="279245" cy="500438"/>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chemeClr val="bg1"/>
            </a:solidFill>
            <a:ln>
              <a:noFill/>
            </a:ln>
            <a:extLst/>
          </p:spPr>
          <p:txBody>
            <a:bodyPr vert="horz" wrap="square" lIns="93222" tIns="46611" rIns="93222" bIns="46611" numCol="1" anchor="t" anchorCtr="0" compatLnSpc="1">
              <a:prstTxWarp prst="textNoShape">
                <a:avLst/>
              </a:prstTxWarp>
            </a:bodyPr>
            <a:lstStyle/>
            <a:p>
              <a:pPr defTabSz="950844">
                <a:defRPr/>
              </a:pPr>
              <a:endParaRPr lang="en-US" sz="1631" kern="0">
                <a:solidFill>
                  <a:srgbClr val="505050"/>
                </a:solidFill>
                <a:latin typeface="Segoe UI"/>
              </a:endParaRPr>
            </a:p>
          </p:txBody>
        </p:sp>
        <p:sp>
          <p:nvSpPr>
            <p:cNvPr id="77" name="Freeform 17"/>
            <p:cNvSpPr>
              <a:spLocks noChangeAspect="1"/>
            </p:cNvSpPr>
            <p:nvPr/>
          </p:nvSpPr>
          <p:spPr bwMode="auto">
            <a:xfrm>
              <a:off x="3154801" y="1222460"/>
              <a:ext cx="524030" cy="301385"/>
            </a:xfrm>
            <a:custGeom>
              <a:avLst/>
              <a:gdLst>
                <a:gd name="T0" fmla="*/ 6330 w 6336"/>
                <a:gd name="T1" fmla="*/ 2358 h 3644"/>
                <a:gd name="T2" fmla="*/ 6299 w 6336"/>
                <a:gd name="T3" fmla="*/ 2553 h 3644"/>
                <a:gd name="T4" fmla="*/ 6241 w 6336"/>
                <a:gd name="T5" fmla="*/ 2738 h 3644"/>
                <a:gd name="T6" fmla="*/ 6160 w 6336"/>
                <a:gd name="T7" fmla="*/ 2912 h 3644"/>
                <a:gd name="T8" fmla="*/ 6058 w 6336"/>
                <a:gd name="T9" fmla="*/ 3073 h 3644"/>
                <a:gd name="T10" fmla="*/ 5936 w 6336"/>
                <a:gd name="T11" fmla="*/ 3218 h 3644"/>
                <a:gd name="T12" fmla="*/ 5796 w 6336"/>
                <a:gd name="T13" fmla="*/ 3346 h 3644"/>
                <a:gd name="T14" fmla="*/ 5640 w 6336"/>
                <a:gd name="T15" fmla="*/ 3454 h 3644"/>
                <a:gd name="T16" fmla="*/ 5471 w 6336"/>
                <a:gd name="T17" fmla="*/ 3542 h 3644"/>
                <a:gd name="T18" fmla="*/ 5289 w 6336"/>
                <a:gd name="T19" fmla="*/ 3606 h 3644"/>
                <a:gd name="T20" fmla="*/ 5097 w 6336"/>
                <a:gd name="T21" fmla="*/ 3644 h 3644"/>
                <a:gd name="T22" fmla="*/ 827 w 6336"/>
                <a:gd name="T23" fmla="*/ 3634 h 3644"/>
                <a:gd name="T24" fmla="*/ 552 w 6336"/>
                <a:gd name="T25" fmla="*/ 3548 h 3644"/>
                <a:gd name="T26" fmla="*/ 320 w 6336"/>
                <a:gd name="T27" fmla="*/ 3391 h 3644"/>
                <a:gd name="T28" fmla="*/ 141 w 6336"/>
                <a:gd name="T29" fmla="*/ 3174 h 3644"/>
                <a:gd name="T30" fmla="*/ 30 w 6336"/>
                <a:gd name="T31" fmla="*/ 2912 h 3644"/>
                <a:gd name="T32" fmla="*/ 0 w 6336"/>
                <a:gd name="T33" fmla="*/ 2669 h 3644"/>
                <a:gd name="T34" fmla="*/ 44 w 6336"/>
                <a:gd name="T35" fmla="*/ 2379 h 3644"/>
                <a:gd name="T36" fmla="*/ 166 w 6336"/>
                <a:gd name="T37" fmla="*/ 2124 h 3644"/>
                <a:gd name="T38" fmla="*/ 355 w 6336"/>
                <a:gd name="T39" fmla="*/ 1916 h 3644"/>
                <a:gd name="T40" fmla="*/ 595 w 6336"/>
                <a:gd name="T41" fmla="*/ 1771 h 3644"/>
                <a:gd name="T42" fmla="*/ 875 w 6336"/>
                <a:gd name="T43" fmla="*/ 1698 h 3644"/>
                <a:gd name="T44" fmla="*/ 1111 w 6336"/>
                <a:gd name="T45" fmla="*/ 1705 h 3644"/>
                <a:gd name="T46" fmla="*/ 1216 w 6336"/>
                <a:gd name="T47" fmla="*/ 1614 h 3644"/>
                <a:gd name="T48" fmla="*/ 1330 w 6336"/>
                <a:gd name="T49" fmla="*/ 1485 h 3644"/>
                <a:gd name="T50" fmla="*/ 1467 w 6336"/>
                <a:gd name="T51" fmla="*/ 1380 h 3644"/>
                <a:gd name="T52" fmla="*/ 1623 w 6336"/>
                <a:gd name="T53" fmla="*/ 1304 h 3644"/>
                <a:gd name="T54" fmla="*/ 1795 w 6336"/>
                <a:gd name="T55" fmla="*/ 1260 h 3644"/>
                <a:gd name="T56" fmla="*/ 1943 w 6336"/>
                <a:gd name="T57" fmla="*/ 1252 h 3644"/>
                <a:gd name="T58" fmla="*/ 2097 w 6336"/>
                <a:gd name="T59" fmla="*/ 1273 h 3644"/>
                <a:gd name="T60" fmla="*/ 2263 w 6336"/>
                <a:gd name="T61" fmla="*/ 1327 h 3644"/>
                <a:gd name="T62" fmla="*/ 2289 w 6336"/>
                <a:gd name="T63" fmla="*/ 1186 h 3644"/>
                <a:gd name="T64" fmla="*/ 2295 w 6336"/>
                <a:gd name="T65" fmla="*/ 1042 h 3644"/>
                <a:gd name="T66" fmla="*/ 2325 w 6336"/>
                <a:gd name="T67" fmla="*/ 871 h 3644"/>
                <a:gd name="T68" fmla="*/ 2380 w 6336"/>
                <a:gd name="T69" fmla="*/ 709 h 3644"/>
                <a:gd name="T70" fmla="*/ 2457 w 6336"/>
                <a:gd name="T71" fmla="*/ 559 h 3644"/>
                <a:gd name="T72" fmla="*/ 2669 w 6336"/>
                <a:gd name="T73" fmla="*/ 302 h 3644"/>
                <a:gd name="T74" fmla="*/ 2896 w 6336"/>
                <a:gd name="T75" fmla="*/ 140 h 3644"/>
                <a:gd name="T76" fmla="*/ 3051 w 6336"/>
                <a:gd name="T77" fmla="*/ 70 h 3644"/>
                <a:gd name="T78" fmla="*/ 3216 w 6336"/>
                <a:gd name="T79" fmla="*/ 24 h 3644"/>
                <a:gd name="T80" fmla="*/ 3391 w 6336"/>
                <a:gd name="T81" fmla="*/ 1 h 3644"/>
                <a:gd name="T82" fmla="*/ 3598 w 6336"/>
                <a:gd name="T83" fmla="*/ 9 h 3644"/>
                <a:gd name="T84" fmla="*/ 3874 w 6336"/>
                <a:gd name="T85" fmla="*/ 80 h 3644"/>
                <a:gd name="T86" fmla="*/ 4119 w 6336"/>
                <a:gd name="T87" fmla="*/ 215 h 3644"/>
                <a:gd name="T88" fmla="*/ 4324 w 6336"/>
                <a:gd name="T89" fmla="*/ 402 h 3644"/>
                <a:gd name="T90" fmla="*/ 4480 w 6336"/>
                <a:gd name="T91" fmla="*/ 632 h 3644"/>
                <a:gd name="T92" fmla="*/ 4565 w 6336"/>
                <a:gd name="T93" fmla="*/ 853 h 3644"/>
                <a:gd name="T94" fmla="*/ 4825 w 6336"/>
                <a:gd name="T95" fmla="*/ 806 h 3644"/>
                <a:gd name="T96" fmla="*/ 5025 w 6336"/>
                <a:gd name="T97" fmla="*/ 807 h 3644"/>
                <a:gd name="T98" fmla="*/ 5237 w 6336"/>
                <a:gd name="T99" fmla="*/ 840 h 3644"/>
                <a:gd name="T100" fmla="*/ 5437 w 6336"/>
                <a:gd name="T101" fmla="*/ 902 h 3644"/>
                <a:gd name="T102" fmla="*/ 5623 w 6336"/>
                <a:gd name="T103" fmla="*/ 991 h 3644"/>
                <a:gd name="T104" fmla="*/ 5793 w 6336"/>
                <a:gd name="T105" fmla="*/ 1107 h 3644"/>
                <a:gd name="T106" fmla="*/ 5944 w 6336"/>
                <a:gd name="T107" fmla="*/ 1244 h 3644"/>
                <a:gd name="T108" fmla="*/ 6074 w 6336"/>
                <a:gd name="T109" fmla="*/ 1401 h 3644"/>
                <a:gd name="T110" fmla="*/ 6181 w 6336"/>
                <a:gd name="T111" fmla="*/ 1578 h 3644"/>
                <a:gd name="T112" fmla="*/ 6261 w 6336"/>
                <a:gd name="T113" fmla="*/ 1768 h 3644"/>
                <a:gd name="T114" fmla="*/ 6315 w 6336"/>
                <a:gd name="T115" fmla="*/ 1973 h 3644"/>
                <a:gd name="T116" fmla="*/ 6336 w 6336"/>
                <a:gd name="T117" fmla="*/ 2187 h 3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36" h="3644">
                  <a:moveTo>
                    <a:pt x="6336" y="2225"/>
                  </a:moveTo>
                  <a:lnTo>
                    <a:pt x="6336" y="2225"/>
                  </a:lnTo>
                  <a:lnTo>
                    <a:pt x="6336" y="2258"/>
                  </a:lnTo>
                  <a:lnTo>
                    <a:pt x="6335" y="2291"/>
                  </a:lnTo>
                  <a:lnTo>
                    <a:pt x="6333" y="2325"/>
                  </a:lnTo>
                  <a:lnTo>
                    <a:pt x="6330" y="2358"/>
                  </a:lnTo>
                  <a:lnTo>
                    <a:pt x="6327" y="2392"/>
                  </a:lnTo>
                  <a:lnTo>
                    <a:pt x="6322" y="2424"/>
                  </a:lnTo>
                  <a:lnTo>
                    <a:pt x="6318" y="2457"/>
                  </a:lnTo>
                  <a:lnTo>
                    <a:pt x="6312" y="2489"/>
                  </a:lnTo>
                  <a:lnTo>
                    <a:pt x="6306" y="2522"/>
                  </a:lnTo>
                  <a:lnTo>
                    <a:pt x="6299" y="2553"/>
                  </a:lnTo>
                  <a:lnTo>
                    <a:pt x="6291" y="2585"/>
                  </a:lnTo>
                  <a:lnTo>
                    <a:pt x="6282" y="2616"/>
                  </a:lnTo>
                  <a:lnTo>
                    <a:pt x="6273" y="2647"/>
                  </a:lnTo>
                  <a:lnTo>
                    <a:pt x="6263" y="2677"/>
                  </a:lnTo>
                  <a:lnTo>
                    <a:pt x="6252" y="2708"/>
                  </a:lnTo>
                  <a:lnTo>
                    <a:pt x="6241" y="2738"/>
                  </a:lnTo>
                  <a:lnTo>
                    <a:pt x="6229" y="2768"/>
                  </a:lnTo>
                  <a:lnTo>
                    <a:pt x="6216" y="2797"/>
                  </a:lnTo>
                  <a:lnTo>
                    <a:pt x="6204" y="2826"/>
                  </a:lnTo>
                  <a:lnTo>
                    <a:pt x="6189" y="2856"/>
                  </a:lnTo>
                  <a:lnTo>
                    <a:pt x="6176" y="2884"/>
                  </a:lnTo>
                  <a:lnTo>
                    <a:pt x="6160" y="2912"/>
                  </a:lnTo>
                  <a:lnTo>
                    <a:pt x="6144" y="2940"/>
                  </a:lnTo>
                  <a:lnTo>
                    <a:pt x="6128" y="2968"/>
                  </a:lnTo>
                  <a:lnTo>
                    <a:pt x="6111" y="2995"/>
                  </a:lnTo>
                  <a:lnTo>
                    <a:pt x="6094" y="3021"/>
                  </a:lnTo>
                  <a:lnTo>
                    <a:pt x="6076" y="3047"/>
                  </a:lnTo>
                  <a:lnTo>
                    <a:pt x="6058" y="3073"/>
                  </a:lnTo>
                  <a:lnTo>
                    <a:pt x="6039" y="3099"/>
                  </a:lnTo>
                  <a:lnTo>
                    <a:pt x="6019" y="3123"/>
                  </a:lnTo>
                  <a:lnTo>
                    <a:pt x="5999" y="3147"/>
                  </a:lnTo>
                  <a:lnTo>
                    <a:pt x="5978" y="3172"/>
                  </a:lnTo>
                  <a:lnTo>
                    <a:pt x="5958" y="3195"/>
                  </a:lnTo>
                  <a:lnTo>
                    <a:pt x="5936" y="3218"/>
                  </a:lnTo>
                  <a:lnTo>
                    <a:pt x="5914" y="3241"/>
                  </a:lnTo>
                  <a:lnTo>
                    <a:pt x="5891" y="3262"/>
                  </a:lnTo>
                  <a:lnTo>
                    <a:pt x="5867" y="3285"/>
                  </a:lnTo>
                  <a:lnTo>
                    <a:pt x="5845" y="3305"/>
                  </a:lnTo>
                  <a:lnTo>
                    <a:pt x="5820" y="3326"/>
                  </a:lnTo>
                  <a:lnTo>
                    <a:pt x="5796" y="3346"/>
                  </a:lnTo>
                  <a:lnTo>
                    <a:pt x="5771" y="3365"/>
                  </a:lnTo>
                  <a:lnTo>
                    <a:pt x="5745" y="3384"/>
                  </a:lnTo>
                  <a:lnTo>
                    <a:pt x="5719" y="3402"/>
                  </a:lnTo>
                  <a:lnTo>
                    <a:pt x="5693" y="3420"/>
                  </a:lnTo>
                  <a:lnTo>
                    <a:pt x="5668" y="3438"/>
                  </a:lnTo>
                  <a:lnTo>
                    <a:pt x="5640" y="3454"/>
                  </a:lnTo>
                  <a:lnTo>
                    <a:pt x="5613" y="3471"/>
                  </a:lnTo>
                  <a:lnTo>
                    <a:pt x="5585" y="3486"/>
                  </a:lnTo>
                  <a:lnTo>
                    <a:pt x="5557" y="3501"/>
                  </a:lnTo>
                  <a:lnTo>
                    <a:pt x="5529" y="3515"/>
                  </a:lnTo>
                  <a:lnTo>
                    <a:pt x="5499" y="3529"/>
                  </a:lnTo>
                  <a:lnTo>
                    <a:pt x="5471" y="3542"/>
                  </a:lnTo>
                  <a:lnTo>
                    <a:pt x="5441" y="3555"/>
                  </a:lnTo>
                  <a:lnTo>
                    <a:pt x="5411" y="3566"/>
                  </a:lnTo>
                  <a:lnTo>
                    <a:pt x="5381" y="3577"/>
                  </a:lnTo>
                  <a:lnTo>
                    <a:pt x="5350" y="3588"/>
                  </a:lnTo>
                  <a:lnTo>
                    <a:pt x="5320" y="3597"/>
                  </a:lnTo>
                  <a:lnTo>
                    <a:pt x="5289" y="3606"/>
                  </a:lnTo>
                  <a:lnTo>
                    <a:pt x="5258" y="3615"/>
                  </a:lnTo>
                  <a:lnTo>
                    <a:pt x="5226" y="3621"/>
                  </a:lnTo>
                  <a:lnTo>
                    <a:pt x="5194" y="3628"/>
                  </a:lnTo>
                  <a:lnTo>
                    <a:pt x="5162" y="3635"/>
                  </a:lnTo>
                  <a:lnTo>
                    <a:pt x="5130" y="3639"/>
                  </a:lnTo>
                  <a:lnTo>
                    <a:pt x="5097" y="3644"/>
                  </a:lnTo>
                  <a:lnTo>
                    <a:pt x="1082" y="3644"/>
                  </a:lnTo>
                  <a:lnTo>
                    <a:pt x="976" y="3644"/>
                  </a:lnTo>
                  <a:lnTo>
                    <a:pt x="976" y="3644"/>
                  </a:lnTo>
                  <a:lnTo>
                    <a:pt x="925" y="3643"/>
                  </a:lnTo>
                  <a:lnTo>
                    <a:pt x="875" y="3639"/>
                  </a:lnTo>
                  <a:lnTo>
                    <a:pt x="827" y="3634"/>
                  </a:lnTo>
                  <a:lnTo>
                    <a:pt x="779" y="3625"/>
                  </a:lnTo>
                  <a:lnTo>
                    <a:pt x="732" y="3614"/>
                  </a:lnTo>
                  <a:lnTo>
                    <a:pt x="685" y="3601"/>
                  </a:lnTo>
                  <a:lnTo>
                    <a:pt x="640" y="3585"/>
                  </a:lnTo>
                  <a:lnTo>
                    <a:pt x="595" y="3568"/>
                  </a:lnTo>
                  <a:lnTo>
                    <a:pt x="552" y="3548"/>
                  </a:lnTo>
                  <a:lnTo>
                    <a:pt x="510" y="3527"/>
                  </a:lnTo>
                  <a:lnTo>
                    <a:pt x="470" y="3503"/>
                  </a:lnTo>
                  <a:lnTo>
                    <a:pt x="430" y="3478"/>
                  </a:lnTo>
                  <a:lnTo>
                    <a:pt x="392" y="3451"/>
                  </a:lnTo>
                  <a:lnTo>
                    <a:pt x="355" y="3422"/>
                  </a:lnTo>
                  <a:lnTo>
                    <a:pt x="320" y="3391"/>
                  </a:lnTo>
                  <a:lnTo>
                    <a:pt x="286" y="3358"/>
                  </a:lnTo>
                  <a:lnTo>
                    <a:pt x="253" y="3324"/>
                  </a:lnTo>
                  <a:lnTo>
                    <a:pt x="222" y="3289"/>
                  </a:lnTo>
                  <a:lnTo>
                    <a:pt x="193" y="3252"/>
                  </a:lnTo>
                  <a:lnTo>
                    <a:pt x="166" y="3214"/>
                  </a:lnTo>
                  <a:lnTo>
                    <a:pt x="141" y="3174"/>
                  </a:lnTo>
                  <a:lnTo>
                    <a:pt x="117" y="3134"/>
                  </a:lnTo>
                  <a:lnTo>
                    <a:pt x="96" y="3092"/>
                  </a:lnTo>
                  <a:lnTo>
                    <a:pt x="77" y="3049"/>
                  </a:lnTo>
                  <a:lnTo>
                    <a:pt x="59" y="3004"/>
                  </a:lnTo>
                  <a:lnTo>
                    <a:pt x="44" y="2959"/>
                  </a:lnTo>
                  <a:lnTo>
                    <a:pt x="30" y="2912"/>
                  </a:lnTo>
                  <a:lnTo>
                    <a:pt x="19" y="2866"/>
                  </a:lnTo>
                  <a:lnTo>
                    <a:pt x="11" y="2817"/>
                  </a:lnTo>
                  <a:lnTo>
                    <a:pt x="5" y="2769"/>
                  </a:lnTo>
                  <a:lnTo>
                    <a:pt x="1" y="2719"/>
                  </a:lnTo>
                  <a:lnTo>
                    <a:pt x="0" y="2669"/>
                  </a:lnTo>
                  <a:lnTo>
                    <a:pt x="0" y="2669"/>
                  </a:lnTo>
                  <a:lnTo>
                    <a:pt x="1" y="2619"/>
                  </a:lnTo>
                  <a:lnTo>
                    <a:pt x="5" y="2569"/>
                  </a:lnTo>
                  <a:lnTo>
                    <a:pt x="11" y="2520"/>
                  </a:lnTo>
                  <a:lnTo>
                    <a:pt x="19" y="2473"/>
                  </a:lnTo>
                  <a:lnTo>
                    <a:pt x="30" y="2426"/>
                  </a:lnTo>
                  <a:lnTo>
                    <a:pt x="44" y="2379"/>
                  </a:lnTo>
                  <a:lnTo>
                    <a:pt x="59" y="2334"/>
                  </a:lnTo>
                  <a:lnTo>
                    <a:pt x="77" y="2289"/>
                  </a:lnTo>
                  <a:lnTo>
                    <a:pt x="96" y="2246"/>
                  </a:lnTo>
                  <a:lnTo>
                    <a:pt x="117" y="2204"/>
                  </a:lnTo>
                  <a:lnTo>
                    <a:pt x="141" y="2164"/>
                  </a:lnTo>
                  <a:lnTo>
                    <a:pt x="166" y="2124"/>
                  </a:lnTo>
                  <a:lnTo>
                    <a:pt x="193" y="2086"/>
                  </a:lnTo>
                  <a:lnTo>
                    <a:pt x="222" y="2048"/>
                  </a:lnTo>
                  <a:lnTo>
                    <a:pt x="253" y="2013"/>
                  </a:lnTo>
                  <a:lnTo>
                    <a:pt x="286" y="1980"/>
                  </a:lnTo>
                  <a:lnTo>
                    <a:pt x="320" y="1947"/>
                  </a:lnTo>
                  <a:lnTo>
                    <a:pt x="355" y="1916"/>
                  </a:lnTo>
                  <a:lnTo>
                    <a:pt x="392" y="1887"/>
                  </a:lnTo>
                  <a:lnTo>
                    <a:pt x="430" y="1860"/>
                  </a:lnTo>
                  <a:lnTo>
                    <a:pt x="470" y="1835"/>
                  </a:lnTo>
                  <a:lnTo>
                    <a:pt x="510" y="1811"/>
                  </a:lnTo>
                  <a:lnTo>
                    <a:pt x="552" y="1790"/>
                  </a:lnTo>
                  <a:lnTo>
                    <a:pt x="595" y="1771"/>
                  </a:lnTo>
                  <a:lnTo>
                    <a:pt x="640" y="1753"/>
                  </a:lnTo>
                  <a:lnTo>
                    <a:pt x="685" y="1738"/>
                  </a:lnTo>
                  <a:lnTo>
                    <a:pt x="732" y="1724"/>
                  </a:lnTo>
                  <a:lnTo>
                    <a:pt x="779" y="1713"/>
                  </a:lnTo>
                  <a:lnTo>
                    <a:pt x="827" y="1705"/>
                  </a:lnTo>
                  <a:lnTo>
                    <a:pt x="875" y="1698"/>
                  </a:lnTo>
                  <a:lnTo>
                    <a:pt x="925" y="1695"/>
                  </a:lnTo>
                  <a:lnTo>
                    <a:pt x="976" y="1694"/>
                  </a:lnTo>
                  <a:lnTo>
                    <a:pt x="976" y="1694"/>
                  </a:lnTo>
                  <a:lnTo>
                    <a:pt x="1021" y="1695"/>
                  </a:lnTo>
                  <a:lnTo>
                    <a:pt x="1066" y="1698"/>
                  </a:lnTo>
                  <a:lnTo>
                    <a:pt x="1111" y="1705"/>
                  </a:lnTo>
                  <a:lnTo>
                    <a:pt x="1155" y="1712"/>
                  </a:lnTo>
                  <a:lnTo>
                    <a:pt x="1155" y="1712"/>
                  </a:lnTo>
                  <a:lnTo>
                    <a:pt x="1169" y="1687"/>
                  </a:lnTo>
                  <a:lnTo>
                    <a:pt x="1183" y="1662"/>
                  </a:lnTo>
                  <a:lnTo>
                    <a:pt x="1199" y="1637"/>
                  </a:lnTo>
                  <a:lnTo>
                    <a:pt x="1216" y="1614"/>
                  </a:lnTo>
                  <a:lnTo>
                    <a:pt x="1233" y="1591"/>
                  </a:lnTo>
                  <a:lnTo>
                    <a:pt x="1251" y="1568"/>
                  </a:lnTo>
                  <a:lnTo>
                    <a:pt x="1270" y="1547"/>
                  </a:lnTo>
                  <a:lnTo>
                    <a:pt x="1290" y="1526"/>
                  </a:lnTo>
                  <a:lnTo>
                    <a:pt x="1309" y="1504"/>
                  </a:lnTo>
                  <a:lnTo>
                    <a:pt x="1330" y="1485"/>
                  </a:lnTo>
                  <a:lnTo>
                    <a:pt x="1352" y="1466"/>
                  </a:lnTo>
                  <a:lnTo>
                    <a:pt x="1373" y="1447"/>
                  </a:lnTo>
                  <a:lnTo>
                    <a:pt x="1396" y="1428"/>
                  </a:lnTo>
                  <a:lnTo>
                    <a:pt x="1418" y="1412"/>
                  </a:lnTo>
                  <a:lnTo>
                    <a:pt x="1442" y="1396"/>
                  </a:lnTo>
                  <a:lnTo>
                    <a:pt x="1467" y="1380"/>
                  </a:lnTo>
                  <a:lnTo>
                    <a:pt x="1492" y="1365"/>
                  </a:lnTo>
                  <a:lnTo>
                    <a:pt x="1517" y="1352"/>
                  </a:lnTo>
                  <a:lnTo>
                    <a:pt x="1543" y="1338"/>
                  </a:lnTo>
                  <a:lnTo>
                    <a:pt x="1568" y="1326"/>
                  </a:lnTo>
                  <a:lnTo>
                    <a:pt x="1596" y="1314"/>
                  </a:lnTo>
                  <a:lnTo>
                    <a:pt x="1623" y="1304"/>
                  </a:lnTo>
                  <a:lnTo>
                    <a:pt x="1651" y="1294"/>
                  </a:lnTo>
                  <a:lnTo>
                    <a:pt x="1679" y="1286"/>
                  </a:lnTo>
                  <a:lnTo>
                    <a:pt x="1707" y="1278"/>
                  </a:lnTo>
                  <a:lnTo>
                    <a:pt x="1736" y="1272"/>
                  </a:lnTo>
                  <a:lnTo>
                    <a:pt x="1765" y="1266"/>
                  </a:lnTo>
                  <a:lnTo>
                    <a:pt x="1795" y="1260"/>
                  </a:lnTo>
                  <a:lnTo>
                    <a:pt x="1825" y="1257"/>
                  </a:lnTo>
                  <a:lnTo>
                    <a:pt x="1855" y="1255"/>
                  </a:lnTo>
                  <a:lnTo>
                    <a:pt x="1886" y="1252"/>
                  </a:lnTo>
                  <a:lnTo>
                    <a:pt x="1917" y="1252"/>
                  </a:lnTo>
                  <a:lnTo>
                    <a:pt x="1917" y="1252"/>
                  </a:lnTo>
                  <a:lnTo>
                    <a:pt x="1943" y="1252"/>
                  </a:lnTo>
                  <a:lnTo>
                    <a:pt x="1969" y="1253"/>
                  </a:lnTo>
                  <a:lnTo>
                    <a:pt x="1995" y="1256"/>
                  </a:lnTo>
                  <a:lnTo>
                    <a:pt x="2021" y="1259"/>
                  </a:lnTo>
                  <a:lnTo>
                    <a:pt x="2046" y="1262"/>
                  </a:lnTo>
                  <a:lnTo>
                    <a:pt x="2072" y="1267"/>
                  </a:lnTo>
                  <a:lnTo>
                    <a:pt x="2097" y="1273"/>
                  </a:lnTo>
                  <a:lnTo>
                    <a:pt x="2121" y="1278"/>
                  </a:lnTo>
                  <a:lnTo>
                    <a:pt x="2145" y="1285"/>
                  </a:lnTo>
                  <a:lnTo>
                    <a:pt x="2169" y="1292"/>
                  </a:lnTo>
                  <a:lnTo>
                    <a:pt x="2193" y="1300"/>
                  </a:lnTo>
                  <a:lnTo>
                    <a:pt x="2217" y="1309"/>
                  </a:lnTo>
                  <a:lnTo>
                    <a:pt x="2263" y="1327"/>
                  </a:lnTo>
                  <a:lnTo>
                    <a:pt x="2307" y="1348"/>
                  </a:lnTo>
                  <a:lnTo>
                    <a:pt x="2307" y="1348"/>
                  </a:lnTo>
                  <a:lnTo>
                    <a:pt x="2300" y="1302"/>
                  </a:lnTo>
                  <a:lnTo>
                    <a:pt x="2295" y="1256"/>
                  </a:lnTo>
                  <a:lnTo>
                    <a:pt x="2290" y="1209"/>
                  </a:lnTo>
                  <a:lnTo>
                    <a:pt x="2289" y="1186"/>
                  </a:lnTo>
                  <a:lnTo>
                    <a:pt x="2289" y="1161"/>
                  </a:lnTo>
                  <a:lnTo>
                    <a:pt x="2289" y="1161"/>
                  </a:lnTo>
                  <a:lnTo>
                    <a:pt x="2289" y="1131"/>
                  </a:lnTo>
                  <a:lnTo>
                    <a:pt x="2290" y="1102"/>
                  </a:lnTo>
                  <a:lnTo>
                    <a:pt x="2292" y="1072"/>
                  </a:lnTo>
                  <a:lnTo>
                    <a:pt x="2295" y="1042"/>
                  </a:lnTo>
                  <a:lnTo>
                    <a:pt x="2298" y="1013"/>
                  </a:lnTo>
                  <a:lnTo>
                    <a:pt x="2302" y="985"/>
                  </a:lnTo>
                  <a:lnTo>
                    <a:pt x="2307" y="955"/>
                  </a:lnTo>
                  <a:lnTo>
                    <a:pt x="2313" y="927"/>
                  </a:lnTo>
                  <a:lnTo>
                    <a:pt x="2318" y="899"/>
                  </a:lnTo>
                  <a:lnTo>
                    <a:pt x="2325" y="871"/>
                  </a:lnTo>
                  <a:lnTo>
                    <a:pt x="2333" y="844"/>
                  </a:lnTo>
                  <a:lnTo>
                    <a:pt x="2341" y="816"/>
                  </a:lnTo>
                  <a:lnTo>
                    <a:pt x="2350" y="789"/>
                  </a:lnTo>
                  <a:lnTo>
                    <a:pt x="2359" y="762"/>
                  </a:lnTo>
                  <a:lnTo>
                    <a:pt x="2369" y="735"/>
                  </a:lnTo>
                  <a:lnTo>
                    <a:pt x="2380" y="709"/>
                  </a:lnTo>
                  <a:lnTo>
                    <a:pt x="2392" y="683"/>
                  </a:lnTo>
                  <a:lnTo>
                    <a:pt x="2403" y="658"/>
                  </a:lnTo>
                  <a:lnTo>
                    <a:pt x="2417" y="632"/>
                  </a:lnTo>
                  <a:lnTo>
                    <a:pt x="2429" y="608"/>
                  </a:lnTo>
                  <a:lnTo>
                    <a:pt x="2442" y="584"/>
                  </a:lnTo>
                  <a:lnTo>
                    <a:pt x="2457" y="559"/>
                  </a:lnTo>
                  <a:lnTo>
                    <a:pt x="2488" y="512"/>
                  </a:lnTo>
                  <a:lnTo>
                    <a:pt x="2519" y="466"/>
                  </a:lnTo>
                  <a:lnTo>
                    <a:pt x="2554" y="422"/>
                  </a:lnTo>
                  <a:lnTo>
                    <a:pt x="2590" y="381"/>
                  </a:lnTo>
                  <a:lnTo>
                    <a:pt x="2629" y="340"/>
                  </a:lnTo>
                  <a:lnTo>
                    <a:pt x="2669" y="302"/>
                  </a:lnTo>
                  <a:lnTo>
                    <a:pt x="2711" y="265"/>
                  </a:lnTo>
                  <a:lnTo>
                    <a:pt x="2755" y="230"/>
                  </a:lnTo>
                  <a:lnTo>
                    <a:pt x="2800" y="199"/>
                  </a:lnTo>
                  <a:lnTo>
                    <a:pt x="2848" y="168"/>
                  </a:lnTo>
                  <a:lnTo>
                    <a:pt x="2873" y="154"/>
                  </a:lnTo>
                  <a:lnTo>
                    <a:pt x="2896" y="140"/>
                  </a:lnTo>
                  <a:lnTo>
                    <a:pt x="2921" y="126"/>
                  </a:lnTo>
                  <a:lnTo>
                    <a:pt x="2947" y="114"/>
                  </a:lnTo>
                  <a:lnTo>
                    <a:pt x="2972" y="103"/>
                  </a:lnTo>
                  <a:lnTo>
                    <a:pt x="2998" y="91"/>
                  </a:lnTo>
                  <a:lnTo>
                    <a:pt x="3024" y="80"/>
                  </a:lnTo>
                  <a:lnTo>
                    <a:pt x="3051" y="70"/>
                  </a:lnTo>
                  <a:lnTo>
                    <a:pt x="3078" y="61"/>
                  </a:lnTo>
                  <a:lnTo>
                    <a:pt x="3105" y="52"/>
                  </a:lnTo>
                  <a:lnTo>
                    <a:pt x="3132" y="44"/>
                  </a:lnTo>
                  <a:lnTo>
                    <a:pt x="3160" y="36"/>
                  </a:lnTo>
                  <a:lnTo>
                    <a:pt x="3188" y="29"/>
                  </a:lnTo>
                  <a:lnTo>
                    <a:pt x="3216" y="24"/>
                  </a:lnTo>
                  <a:lnTo>
                    <a:pt x="3244" y="18"/>
                  </a:lnTo>
                  <a:lnTo>
                    <a:pt x="3274" y="14"/>
                  </a:lnTo>
                  <a:lnTo>
                    <a:pt x="3303" y="9"/>
                  </a:lnTo>
                  <a:lnTo>
                    <a:pt x="3331" y="6"/>
                  </a:lnTo>
                  <a:lnTo>
                    <a:pt x="3361" y="3"/>
                  </a:lnTo>
                  <a:lnTo>
                    <a:pt x="3391" y="1"/>
                  </a:lnTo>
                  <a:lnTo>
                    <a:pt x="3420" y="0"/>
                  </a:lnTo>
                  <a:lnTo>
                    <a:pt x="3451" y="0"/>
                  </a:lnTo>
                  <a:lnTo>
                    <a:pt x="3451" y="0"/>
                  </a:lnTo>
                  <a:lnTo>
                    <a:pt x="3501" y="1"/>
                  </a:lnTo>
                  <a:lnTo>
                    <a:pt x="3549" y="5"/>
                  </a:lnTo>
                  <a:lnTo>
                    <a:pt x="3598" y="9"/>
                  </a:lnTo>
                  <a:lnTo>
                    <a:pt x="3646" y="17"/>
                  </a:lnTo>
                  <a:lnTo>
                    <a:pt x="3694" y="26"/>
                  </a:lnTo>
                  <a:lnTo>
                    <a:pt x="3740" y="36"/>
                  </a:lnTo>
                  <a:lnTo>
                    <a:pt x="3785" y="50"/>
                  </a:lnTo>
                  <a:lnTo>
                    <a:pt x="3830" y="64"/>
                  </a:lnTo>
                  <a:lnTo>
                    <a:pt x="3874" y="80"/>
                  </a:lnTo>
                  <a:lnTo>
                    <a:pt x="3918" y="98"/>
                  </a:lnTo>
                  <a:lnTo>
                    <a:pt x="3960" y="119"/>
                  </a:lnTo>
                  <a:lnTo>
                    <a:pt x="4002" y="140"/>
                  </a:lnTo>
                  <a:lnTo>
                    <a:pt x="4043" y="164"/>
                  </a:lnTo>
                  <a:lnTo>
                    <a:pt x="4081" y="189"/>
                  </a:lnTo>
                  <a:lnTo>
                    <a:pt x="4119" y="215"/>
                  </a:lnTo>
                  <a:lnTo>
                    <a:pt x="4157" y="242"/>
                  </a:lnTo>
                  <a:lnTo>
                    <a:pt x="4193" y="271"/>
                  </a:lnTo>
                  <a:lnTo>
                    <a:pt x="4228" y="302"/>
                  </a:lnTo>
                  <a:lnTo>
                    <a:pt x="4261" y="334"/>
                  </a:lnTo>
                  <a:lnTo>
                    <a:pt x="4293" y="367"/>
                  </a:lnTo>
                  <a:lnTo>
                    <a:pt x="4324" y="402"/>
                  </a:lnTo>
                  <a:lnTo>
                    <a:pt x="4353" y="437"/>
                  </a:lnTo>
                  <a:lnTo>
                    <a:pt x="4381" y="474"/>
                  </a:lnTo>
                  <a:lnTo>
                    <a:pt x="4408" y="513"/>
                  </a:lnTo>
                  <a:lnTo>
                    <a:pt x="4433" y="551"/>
                  </a:lnTo>
                  <a:lnTo>
                    <a:pt x="4457" y="592"/>
                  </a:lnTo>
                  <a:lnTo>
                    <a:pt x="4480" y="632"/>
                  </a:lnTo>
                  <a:lnTo>
                    <a:pt x="4500" y="675"/>
                  </a:lnTo>
                  <a:lnTo>
                    <a:pt x="4519" y="718"/>
                  </a:lnTo>
                  <a:lnTo>
                    <a:pt x="4536" y="762"/>
                  </a:lnTo>
                  <a:lnTo>
                    <a:pt x="4552" y="806"/>
                  </a:lnTo>
                  <a:lnTo>
                    <a:pt x="4565" y="853"/>
                  </a:lnTo>
                  <a:lnTo>
                    <a:pt x="4565" y="853"/>
                  </a:lnTo>
                  <a:lnTo>
                    <a:pt x="4607" y="841"/>
                  </a:lnTo>
                  <a:lnTo>
                    <a:pt x="4650" y="832"/>
                  </a:lnTo>
                  <a:lnTo>
                    <a:pt x="4693" y="824"/>
                  </a:lnTo>
                  <a:lnTo>
                    <a:pt x="4737" y="816"/>
                  </a:lnTo>
                  <a:lnTo>
                    <a:pt x="4781" y="811"/>
                  </a:lnTo>
                  <a:lnTo>
                    <a:pt x="4825" y="806"/>
                  </a:lnTo>
                  <a:lnTo>
                    <a:pt x="4870" y="804"/>
                  </a:lnTo>
                  <a:lnTo>
                    <a:pt x="4915" y="803"/>
                  </a:lnTo>
                  <a:lnTo>
                    <a:pt x="4915" y="803"/>
                  </a:lnTo>
                  <a:lnTo>
                    <a:pt x="4953" y="804"/>
                  </a:lnTo>
                  <a:lnTo>
                    <a:pt x="4989" y="805"/>
                  </a:lnTo>
                  <a:lnTo>
                    <a:pt x="5025" y="807"/>
                  </a:lnTo>
                  <a:lnTo>
                    <a:pt x="5061" y="811"/>
                  </a:lnTo>
                  <a:lnTo>
                    <a:pt x="5097" y="814"/>
                  </a:lnTo>
                  <a:lnTo>
                    <a:pt x="5132" y="820"/>
                  </a:lnTo>
                  <a:lnTo>
                    <a:pt x="5167" y="825"/>
                  </a:lnTo>
                  <a:lnTo>
                    <a:pt x="5202" y="832"/>
                  </a:lnTo>
                  <a:lnTo>
                    <a:pt x="5237" y="840"/>
                  </a:lnTo>
                  <a:lnTo>
                    <a:pt x="5271" y="848"/>
                  </a:lnTo>
                  <a:lnTo>
                    <a:pt x="5305" y="857"/>
                  </a:lnTo>
                  <a:lnTo>
                    <a:pt x="5339" y="867"/>
                  </a:lnTo>
                  <a:lnTo>
                    <a:pt x="5372" y="877"/>
                  </a:lnTo>
                  <a:lnTo>
                    <a:pt x="5404" y="890"/>
                  </a:lnTo>
                  <a:lnTo>
                    <a:pt x="5437" y="902"/>
                  </a:lnTo>
                  <a:lnTo>
                    <a:pt x="5469" y="915"/>
                  </a:lnTo>
                  <a:lnTo>
                    <a:pt x="5500" y="928"/>
                  </a:lnTo>
                  <a:lnTo>
                    <a:pt x="5532" y="943"/>
                  </a:lnTo>
                  <a:lnTo>
                    <a:pt x="5562" y="959"/>
                  </a:lnTo>
                  <a:lnTo>
                    <a:pt x="5593" y="975"/>
                  </a:lnTo>
                  <a:lnTo>
                    <a:pt x="5623" y="991"/>
                  </a:lnTo>
                  <a:lnTo>
                    <a:pt x="5653" y="1010"/>
                  </a:lnTo>
                  <a:lnTo>
                    <a:pt x="5681" y="1028"/>
                  </a:lnTo>
                  <a:lnTo>
                    <a:pt x="5710" y="1046"/>
                  </a:lnTo>
                  <a:lnTo>
                    <a:pt x="5739" y="1065"/>
                  </a:lnTo>
                  <a:lnTo>
                    <a:pt x="5766" y="1085"/>
                  </a:lnTo>
                  <a:lnTo>
                    <a:pt x="5793" y="1107"/>
                  </a:lnTo>
                  <a:lnTo>
                    <a:pt x="5820" y="1128"/>
                  </a:lnTo>
                  <a:lnTo>
                    <a:pt x="5846" y="1150"/>
                  </a:lnTo>
                  <a:lnTo>
                    <a:pt x="5871" y="1172"/>
                  </a:lnTo>
                  <a:lnTo>
                    <a:pt x="5896" y="1196"/>
                  </a:lnTo>
                  <a:lnTo>
                    <a:pt x="5920" y="1220"/>
                  </a:lnTo>
                  <a:lnTo>
                    <a:pt x="5944" y="1244"/>
                  </a:lnTo>
                  <a:lnTo>
                    <a:pt x="5968" y="1269"/>
                  </a:lnTo>
                  <a:lnTo>
                    <a:pt x="5990" y="1294"/>
                  </a:lnTo>
                  <a:lnTo>
                    <a:pt x="6012" y="1320"/>
                  </a:lnTo>
                  <a:lnTo>
                    <a:pt x="6033" y="1347"/>
                  </a:lnTo>
                  <a:lnTo>
                    <a:pt x="6055" y="1374"/>
                  </a:lnTo>
                  <a:lnTo>
                    <a:pt x="6074" y="1401"/>
                  </a:lnTo>
                  <a:lnTo>
                    <a:pt x="6094" y="1430"/>
                  </a:lnTo>
                  <a:lnTo>
                    <a:pt x="6112" y="1458"/>
                  </a:lnTo>
                  <a:lnTo>
                    <a:pt x="6130" y="1487"/>
                  </a:lnTo>
                  <a:lnTo>
                    <a:pt x="6149" y="1517"/>
                  </a:lnTo>
                  <a:lnTo>
                    <a:pt x="6165" y="1547"/>
                  </a:lnTo>
                  <a:lnTo>
                    <a:pt x="6181" y="1578"/>
                  </a:lnTo>
                  <a:lnTo>
                    <a:pt x="6196" y="1608"/>
                  </a:lnTo>
                  <a:lnTo>
                    <a:pt x="6211" y="1640"/>
                  </a:lnTo>
                  <a:lnTo>
                    <a:pt x="6225" y="1671"/>
                  </a:lnTo>
                  <a:lnTo>
                    <a:pt x="6238" y="1703"/>
                  </a:lnTo>
                  <a:lnTo>
                    <a:pt x="6250" y="1736"/>
                  </a:lnTo>
                  <a:lnTo>
                    <a:pt x="6261" y="1768"/>
                  </a:lnTo>
                  <a:lnTo>
                    <a:pt x="6273" y="1802"/>
                  </a:lnTo>
                  <a:lnTo>
                    <a:pt x="6283" y="1835"/>
                  </a:lnTo>
                  <a:lnTo>
                    <a:pt x="6292" y="1869"/>
                  </a:lnTo>
                  <a:lnTo>
                    <a:pt x="6300" y="1904"/>
                  </a:lnTo>
                  <a:lnTo>
                    <a:pt x="6308" y="1938"/>
                  </a:lnTo>
                  <a:lnTo>
                    <a:pt x="6315" y="1973"/>
                  </a:lnTo>
                  <a:lnTo>
                    <a:pt x="6320" y="2008"/>
                  </a:lnTo>
                  <a:lnTo>
                    <a:pt x="6325" y="2043"/>
                  </a:lnTo>
                  <a:lnTo>
                    <a:pt x="6329" y="2079"/>
                  </a:lnTo>
                  <a:lnTo>
                    <a:pt x="6333" y="2115"/>
                  </a:lnTo>
                  <a:lnTo>
                    <a:pt x="6335" y="2151"/>
                  </a:lnTo>
                  <a:lnTo>
                    <a:pt x="6336" y="2187"/>
                  </a:lnTo>
                  <a:lnTo>
                    <a:pt x="6336" y="2225"/>
                  </a:lnTo>
                  <a:close/>
                </a:path>
              </a:pathLst>
            </a:custGeom>
            <a:solidFill>
              <a:schemeClr val="bg1"/>
            </a:solidFill>
            <a:ln>
              <a:noFill/>
            </a:ln>
          </p:spPr>
          <p:txBody>
            <a:bodyPr vert="horz" wrap="square" lIns="93222" tIns="46611" rIns="93222" bIns="46611" numCol="1" anchor="t" anchorCtr="0" compatLnSpc="1">
              <a:prstTxWarp prst="textNoShape">
                <a:avLst/>
              </a:prstTxWarp>
            </a:bodyPr>
            <a:lstStyle/>
            <a:p>
              <a:pPr defTabSz="950844">
                <a:defRPr/>
              </a:pPr>
              <a:endParaRPr lang="en-US" sz="1836" kern="0">
                <a:solidFill>
                  <a:srgbClr val="505050"/>
                </a:solidFill>
                <a:latin typeface="Segoe UI"/>
              </a:endParaRPr>
            </a:p>
          </p:txBody>
        </p:sp>
      </p:grpSp>
      <p:sp>
        <p:nvSpPr>
          <p:cNvPr id="78" name="Oval 2"/>
          <p:cNvSpPr/>
          <p:nvPr/>
        </p:nvSpPr>
        <p:spPr bwMode="auto">
          <a:xfrm>
            <a:off x="8313338" y="1317015"/>
            <a:ext cx="549447" cy="338828"/>
          </a:xfrm>
          <a:custGeom>
            <a:avLst/>
            <a:gdLst/>
            <a:ahLst/>
            <a:cxnLst/>
            <a:rect l="l" t="t" r="r" b="b"/>
            <a:pathLst>
              <a:path w="6841704" h="4219062">
                <a:moveTo>
                  <a:pt x="3999647" y="1263373"/>
                </a:moveTo>
                <a:cubicBezTo>
                  <a:pt x="4811978" y="1263373"/>
                  <a:pt x="5470500" y="1922425"/>
                  <a:pt x="5470500" y="2735408"/>
                </a:cubicBezTo>
                <a:cubicBezTo>
                  <a:pt x="5470500" y="3548391"/>
                  <a:pt x="4811978" y="4207442"/>
                  <a:pt x="3999647" y="4207442"/>
                </a:cubicBezTo>
                <a:lnTo>
                  <a:pt x="3999647" y="4219062"/>
                </a:lnTo>
                <a:lnTo>
                  <a:pt x="851084" y="4219062"/>
                </a:lnTo>
                <a:lnTo>
                  <a:pt x="851084" y="4211870"/>
                </a:lnTo>
                <a:cubicBezTo>
                  <a:pt x="376033" y="4186539"/>
                  <a:pt x="0" y="3791878"/>
                  <a:pt x="0" y="3309319"/>
                </a:cubicBezTo>
                <a:cubicBezTo>
                  <a:pt x="0" y="2807710"/>
                  <a:pt x="406308" y="2401076"/>
                  <a:pt x="907514" y="2401076"/>
                </a:cubicBezTo>
                <a:cubicBezTo>
                  <a:pt x="1017439" y="2401076"/>
                  <a:pt x="1122797" y="2420634"/>
                  <a:pt x="1219182" y="2459534"/>
                </a:cubicBezTo>
                <a:cubicBezTo>
                  <a:pt x="1386093" y="2098350"/>
                  <a:pt x="1752009" y="1849467"/>
                  <a:pt x="2176008" y="1849467"/>
                </a:cubicBezTo>
                <a:cubicBezTo>
                  <a:pt x="2378938" y="1849467"/>
                  <a:pt x="2568568" y="1906479"/>
                  <a:pt x="2727934" y="2008370"/>
                </a:cubicBezTo>
                <a:cubicBezTo>
                  <a:pt x="2975761" y="1561974"/>
                  <a:pt x="3452861" y="1263373"/>
                  <a:pt x="3999647" y="1263373"/>
                </a:cubicBezTo>
                <a:close/>
                <a:moveTo>
                  <a:pt x="5509456" y="0"/>
                </a:moveTo>
                <a:cubicBezTo>
                  <a:pt x="6245237" y="0"/>
                  <a:pt x="6841704" y="596946"/>
                  <a:pt x="6841704" y="1333318"/>
                </a:cubicBezTo>
                <a:cubicBezTo>
                  <a:pt x="6841704" y="2032277"/>
                  <a:pt x="6304306" y="2605618"/>
                  <a:pt x="5620379" y="2661030"/>
                </a:cubicBezTo>
                <a:lnTo>
                  <a:pt x="5620520" y="2658225"/>
                </a:lnTo>
                <a:cubicBezTo>
                  <a:pt x="5620520" y="1797065"/>
                  <a:pt x="4922974" y="1098959"/>
                  <a:pt x="4062506" y="1098959"/>
                </a:cubicBezTo>
                <a:cubicBezTo>
                  <a:pt x="3483318" y="1098959"/>
                  <a:pt x="2977946" y="1415254"/>
                  <a:pt x="2715432" y="1888104"/>
                </a:cubicBezTo>
                <a:cubicBezTo>
                  <a:pt x="2546622" y="1780175"/>
                  <a:pt x="2345755" y="1719784"/>
                  <a:pt x="2130800" y="1719784"/>
                </a:cubicBezTo>
                <a:cubicBezTo>
                  <a:pt x="2049415" y="1719784"/>
                  <a:pt x="1970051" y="1728441"/>
                  <a:pt x="1894207" y="1747734"/>
                </a:cubicBezTo>
                <a:cubicBezTo>
                  <a:pt x="1945162" y="1343125"/>
                  <a:pt x="2290456" y="1030491"/>
                  <a:pt x="2708710" y="1030491"/>
                </a:cubicBezTo>
                <a:cubicBezTo>
                  <a:pt x="2808276" y="1030491"/>
                  <a:pt x="2903706" y="1048207"/>
                  <a:pt x="2991007" y="1083441"/>
                </a:cubicBezTo>
                <a:cubicBezTo>
                  <a:pt x="3142190" y="756293"/>
                  <a:pt x="3473624" y="530864"/>
                  <a:pt x="3857667" y="530864"/>
                </a:cubicBezTo>
                <a:cubicBezTo>
                  <a:pt x="4041474" y="530864"/>
                  <a:pt x="4213234" y="582503"/>
                  <a:pt x="4357582" y="674792"/>
                </a:cubicBezTo>
                <a:cubicBezTo>
                  <a:pt x="4582056" y="270462"/>
                  <a:pt x="5014197" y="0"/>
                  <a:pt x="55094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2" tIns="46611" rIns="46611" bIns="93222" numCol="1" spcCol="0" rtlCol="0" fromWordArt="0" anchor="b" anchorCtr="0" forceAA="0" compatLnSpc="1">
            <a:prstTxWarp prst="textNoShape">
              <a:avLst/>
            </a:prstTxWarp>
            <a:noAutofit/>
          </a:bodyPr>
          <a:lstStyle/>
          <a:p>
            <a:pPr algn="ctr" defTabSz="931838" fontAlgn="base">
              <a:spcBef>
                <a:spcPct val="0"/>
              </a:spcBef>
              <a:spcAft>
                <a:spcPct val="0"/>
              </a:spcAft>
              <a:defRPr/>
            </a:pPr>
            <a:endParaRPr lang="en-US" sz="1836" kern="0" dirty="0" err="1">
              <a:solidFill>
                <a:srgbClr val="0072C6"/>
              </a:solidFill>
              <a:latin typeface="Segoe UI"/>
              <a:ea typeface="Segoe UI" pitchFamily="34" charset="0"/>
              <a:cs typeface="Segoe UI" pitchFamily="34" charset="0"/>
            </a:endParaRPr>
          </a:p>
        </p:txBody>
      </p:sp>
      <p:sp>
        <p:nvSpPr>
          <p:cNvPr id="79" name="Freeform 78"/>
          <p:cNvSpPr/>
          <p:nvPr/>
        </p:nvSpPr>
        <p:spPr bwMode="auto">
          <a:xfrm>
            <a:off x="11598944" y="2051294"/>
            <a:ext cx="289538" cy="528989"/>
          </a:xfrm>
          <a:custGeom>
            <a:avLst/>
            <a:gdLst/>
            <a:ahLst/>
            <a:cxnLst/>
            <a:rect l="l" t="t" r="r" b="b"/>
            <a:pathLst>
              <a:path w="2021693" h="3693642">
                <a:moveTo>
                  <a:pt x="93735" y="2232665"/>
                </a:moveTo>
                <a:lnTo>
                  <a:pt x="93735" y="3406187"/>
                </a:lnTo>
                <a:lnTo>
                  <a:pt x="1217425" y="3603020"/>
                </a:lnTo>
                <a:lnTo>
                  <a:pt x="1217425" y="2294954"/>
                </a:lnTo>
                <a:close/>
                <a:moveTo>
                  <a:pt x="96227" y="1906272"/>
                </a:moveTo>
                <a:lnTo>
                  <a:pt x="96227" y="2150444"/>
                </a:lnTo>
                <a:lnTo>
                  <a:pt x="1224900" y="2195292"/>
                </a:lnTo>
                <a:lnTo>
                  <a:pt x="1224900" y="1938662"/>
                </a:lnTo>
                <a:close/>
                <a:moveTo>
                  <a:pt x="1229883" y="1574895"/>
                </a:moveTo>
                <a:lnTo>
                  <a:pt x="96227" y="1582370"/>
                </a:lnTo>
                <a:lnTo>
                  <a:pt x="96227" y="1824051"/>
                </a:lnTo>
                <a:lnTo>
                  <a:pt x="1229883" y="1839000"/>
                </a:lnTo>
                <a:close/>
                <a:moveTo>
                  <a:pt x="1232375" y="1211129"/>
                </a:moveTo>
                <a:lnTo>
                  <a:pt x="98718" y="1255977"/>
                </a:lnTo>
                <a:lnTo>
                  <a:pt x="98718" y="1495166"/>
                </a:lnTo>
                <a:lnTo>
                  <a:pt x="1232375" y="1475233"/>
                </a:lnTo>
                <a:close/>
                <a:moveTo>
                  <a:pt x="1237358" y="847362"/>
                </a:moveTo>
                <a:lnTo>
                  <a:pt x="101210" y="937058"/>
                </a:lnTo>
                <a:lnTo>
                  <a:pt x="101210" y="1178738"/>
                </a:lnTo>
                <a:lnTo>
                  <a:pt x="1229883" y="1116450"/>
                </a:lnTo>
                <a:close/>
                <a:moveTo>
                  <a:pt x="1232375" y="491070"/>
                </a:moveTo>
                <a:lnTo>
                  <a:pt x="98718" y="608173"/>
                </a:lnTo>
                <a:lnTo>
                  <a:pt x="98718" y="857328"/>
                </a:lnTo>
                <a:lnTo>
                  <a:pt x="1234866" y="755174"/>
                </a:lnTo>
                <a:cubicBezTo>
                  <a:pt x="1234036" y="667139"/>
                  <a:pt x="1233205" y="579105"/>
                  <a:pt x="1232375" y="491070"/>
                </a:cubicBezTo>
                <a:close/>
                <a:moveTo>
                  <a:pt x="1234866" y="122320"/>
                </a:moveTo>
                <a:lnTo>
                  <a:pt x="103701" y="284271"/>
                </a:lnTo>
                <a:lnTo>
                  <a:pt x="108684" y="525951"/>
                </a:lnTo>
                <a:lnTo>
                  <a:pt x="1234866" y="386424"/>
                </a:lnTo>
                <a:close/>
                <a:moveTo>
                  <a:pt x="1364857" y="0"/>
                </a:moveTo>
                <a:lnTo>
                  <a:pt x="2021693" y="255913"/>
                </a:lnTo>
                <a:lnTo>
                  <a:pt x="2021693" y="3395082"/>
                </a:lnTo>
                <a:lnTo>
                  <a:pt x="1339265" y="3693642"/>
                </a:lnTo>
                <a:lnTo>
                  <a:pt x="0" y="3463325"/>
                </a:lnTo>
                <a:cubicBezTo>
                  <a:pt x="5685" y="2371440"/>
                  <a:pt x="11374" y="1279555"/>
                  <a:pt x="17059" y="18767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5" tIns="46617" rIns="46617" bIns="93235" numCol="1" spcCol="0" rtlCol="0" fromWordArt="0" anchor="b" anchorCtr="0" forceAA="0" compatLnSpc="1">
            <a:prstTxWarp prst="textNoShape">
              <a:avLst/>
            </a:prstTxWarp>
            <a:noAutofit/>
          </a:bodyPr>
          <a:lstStyle/>
          <a:p>
            <a:pPr algn="ctr" defTabSz="932018" fontAlgn="base">
              <a:spcBef>
                <a:spcPct val="0"/>
              </a:spcBef>
              <a:spcAft>
                <a:spcPct val="0"/>
              </a:spcAft>
              <a:defRPr/>
            </a:pPr>
            <a:endParaRPr lang="en-US" sz="1836" kern="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3" name="Group 2"/>
          <p:cNvGrpSpPr/>
          <p:nvPr/>
        </p:nvGrpSpPr>
        <p:grpSpPr>
          <a:xfrm>
            <a:off x="2848635" y="3071091"/>
            <a:ext cx="3168734" cy="335780"/>
            <a:chOff x="2791700" y="3369227"/>
            <a:chExt cx="3107324" cy="329273"/>
          </a:xfrm>
        </p:grpSpPr>
        <p:sp>
          <p:nvSpPr>
            <p:cNvPr id="65" name="Rectangle 64"/>
            <p:cNvSpPr/>
            <p:nvPr/>
          </p:nvSpPr>
          <p:spPr bwMode="auto">
            <a:xfrm>
              <a:off x="2953565" y="3369227"/>
              <a:ext cx="2945459" cy="329273"/>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66" name="Rectangle 65"/>
            <p:cNvSpPr/>
            <p:nvPr/>
          </p:nvSpPr>
          <p:spPr bwMode="auto">
            <a:xfrm>
              <a:off x="2791700" y="3369227"/>
              <a:ext cx="164592" cy="3292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3" name="Rectangle 62"/>
          <p:cNvSpPr/>
          <p:nvPr/>
        </p:nvSpPr>
        <p:spPr bwMode="auto">
          <a:xfrm>
            <a:off x="9260567" y="3077734"/>
            <a:ext cx="2707907"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20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71" name="Rectangle 70"/>
          <p:cNvSpPr/>
          <p:nvPr/>
        </p:nvSpPr>
        <p:spPr bwMode="auto">
          <a:xfrm>
            <a:off x="9095503" y="3077734"/>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72"/>
          <p:cNvSpPr/>
          <p:nvPr/>
        </p:nvSpPr>
        <p:spPr bwMode="auto">
          <a:xfrm>
            <a:off x="3013698" y="3431790"/>
            <a:ext cx="3010085"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Unlimited Signature Cloud Support Incidents</a:t>
            </a:r>
          </a:p>
        </p:txBody>
      </p:sp>
      <p:sp>
        <p:nvSpPr>
          <p:cNvPr id="74" name="Rectangle 73"/>
          <p:cNvSpPr/>
          <p:nvPr/>
        </p:nvSpPr>
        <p:spPr bwMode="auto">
          <a:xfrm>
            <a:off x="2848636" y="3431790"/>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6250845" y="4221196"/>
            <a:ext cx="2777501"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a:t>
            </a:r>
            <a:r>
              <a:rPr lang="en-US" sz="1224" kern="0" dirty="0">
                <a:solidFill>
                  <a:sysClr val="windowText" lastClr="000000"/>
                </a:solidFill>
                <a:latin typeface="Segoe UI"/>
                <a:ea typeface="Segoe UI" pitchFamily="34" charset="0"/>
                <a:cs typeface="Segoe UI" pitchFamily="34" charset="0"/>
              </a:rPr>
              <a:t> Product Support Incidents</a:t>
            </a:r>
          </a:p>
        </p:txBody>
      </p:sp>
      <p:sp>
        <p:nvSpPr>
          <p:cNvPr id="85" name="Rectangle 84"/>
          <p:cNvSpPr/>
          <p:nvPr/>
        </p:nvSpPr>
        <p:spPr bwMode="auto">
          <a:xfrm>
            <a:off x="6250845" y="4598702"/>
            <a:ext cx="2777501"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0</a:t>
            </a:r>
            <a:r>
              <a:rPr lang="en-US" sz="1224" b="1" kern="0" dirty="0">
                <a:solidFill>
                  <a:sysClr val="windowText" lastClr="000000"/>
                </a:solidFill>
                <a:latin typeface="Segoe UI"/>
                <a:ea typeface="Segoe UI" pitchFamily="34" charset="0"/>
                <a:cs typeface="Segoe UI" pitchFamily="34" charset="0"/>
              </a:rPr>
              <a:t>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Signature Cloud Support Incidents</a:t>
            </a:r>
          </a:p>
        </p:txBody>
      </p:sp>
      <p:sp>
        <p:nvSpPr>
          <p:cNvPr id="86" name="Rectangle 85"/>
          <p:cNvSpPr/>
          <p:nvPr/>
        </p:nvSpPr>
        <p:spPr bwMode="auto">
          <a:xfrm>
            <a:off x="6082908" y="4221196"/>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86"/>
          <p:cNvSpPr/>
          <p:nvPr/>
        </p:nvSpPr>
        <p:spPr bwMode="auto">
          <a:xfrm>
            <a:off x="6082908" y="4598702"/>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8" name="Group 87"/>
          <p:cNvGrpSpPr/>
          <p:nvPr/>
        </p:nvGrpSpPr>
        <p:grpSpPr>
          <a:xfrm>
            <a:off x="2848635" y="4233485"/>
            <a:ext cx="3168734" cy="335780"/>
            <a:chOff x="2791700" y="3369227"/>
            <a:chExt cx="3107324" cy="329273"/>
          </a:xfrm>
        </p:grpSpPr>
        <p:sp>
          <p:nvSpPr>
            <p:cNvPr id="89" name="Rectangle 88"/>
            <p:cNvSpPr/>
            <p:nvPr/>
          </p:nvSpPr>
          <p:spPr bwMode="auto">
            <a:xfrm>
              <a:off x="2953565" y="3369227"/>
              <a:ext cx="2945459" cy="329273"/>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 </a:t>
              </a: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Product Support Incidents</a:t>
              </a:r>
            </a:p>
          </p:txBody>
        </p:sp>
        <p:sp>
          <p:nvSpPr>
            <p:cNvPr id="90" name="Rectangle 89"/>
            <p:cNvSpPr/>
            <p:nvPr/>
          </p:nvSpPr>
          <p:spPr bwMode="auto">
            <a:xfrm>
              <a:off x="2791700" y="3369227"/>
              <a:ext cx="164592" cy="3292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1" name="Rectangle 90"/>
          <p:cNvSpPr/>
          <p:nvPr/>
        </p:nvSpPr>
        <p:spPr bwMode="auto">
          <a:xfrm>
            <a:off x="9260567" y="4240128"/>
            <a:ext cx="2707907" cy="3357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15 </a:t>
            </a:r>
            <a:r>
              <a:rPr lang="en-US" sz="1224" kern="0" dirty="0">
                <a:solidFill>
                  <a:sysClr val="windowText" lastClr="000000"/>
                </a:solidFill>
                <a:latin typeface="Segoe UI"/>
                <a:ea typeface="Segoe UI" pitchFamily="34" charset="0"/>
                <a:cs typeface="Segoe UI Semibold" panose="020B0702040204020203" pitchFamily="34" charset="0"/>
              </a:rPr>
              <a:t>Product Support Incidents</a:t>
            </a:r>
          </a:p>
        </p:txBody>
      </p:sp>
      <p:sp>
        <p:nvSpPr>
          <p:cNvPr id="92" name="Rectangle 91"/>
          <p:cNvSpPr/>
          <p:nvPr/>
        </p:nvSpPr>
        <p:spPr bwMode="auto">
          <a:xfrm>
            <a:off x="9095503" y="4240128"/>
            <a:ext cx="167845" cy="3357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Rectangle 92"/>
          <p:cNvSpPr/>
          <p:nvPr/>
        </p:nvSpPr>
        <p:spPr bwMode="auto">
          <a:xfrm>
            <a:off x="3013698" y="4594185"/>
            <a:ext cx="3010085" cy="33578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r>
              <a:rPr lang="en-US" sz="1224"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Unlimited Signature Cloud Support Incidents</a:t>
            </a:r>
          </a:p>
        </p:txBody>
      </p:sp>
      <p:sp>
        <p:nvSpPr>
          <p:cNvPr id="94" name="Rectangle 93"/>
          <p:cNvSpPr/>
          <p:nvPr/>
        </p:nvSpPr>
        <p:spPr bwMode="auto">
          <a:xfrm>
            <a:off x="2848636" y="4594185"/>
            <a:ext cx="167845" cy="3357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p>
            <a:pPr algn="ctr" defTabSz="950751" fontAlgn="base">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p:cNvSpPr/>
          <p:nvPr/>
        </p:nvSpPr>
        <p:spPr bwMode="auto">
          <a:xfrm>
            <a:off x="9090212" y="4609831"/>
            <a:ext cx="2866714" cy="320135"/>
          </a:xfrm>
          <a:prstGeom prst="rect">
            <a:avLst/>
          </a:prstGeom>
          <a:noFill/>
          <a:ln w="9525"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endPar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endParaRPr>
          </a:p>
        </p:txBody>
      </p:sp>
      <p:sp>
        <p:nvSpPr>
          <p:cNvPr id="96" name="Rectangle 95"/>
          <p:cNvSpPr/>
          <p:nvPr/>
        </p:nvSpPr>
        <p:spPr bwMode="auto">
          <a:xfrm>
            <a:off x="9081070" y="3447140"/>
            <a:ext cx="2866714" cy="328569"/>
          </a:xfrm>
          <a:prstGeom prst="rect">
            <a:avLst/>
          </a:prstGeom>
          <a:noFill/>
          <a:ln w="9525"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55948" tIns="27974" rIns="55948" bIns="27974" numCol="1" spcCol="0" rtlCol="0" fromWordArt="0" anchor="ctr" anchorCtr="0" forceAA="0" compatLnSpc="1">
            <a:prstTxWarp prst="textNoShape">
              <a:avLst/>
            </a:prstTxWarp>
            <a:noAutofit/>
          </a:bodyPr>
          <a:lstStyle/>
          <a:p>
            <a:pPr defTabSz="950386" fontAlgn="base">
              <a:spcBef>
                <a:spcPct val="0"/>
              </a:spcBef>
              <a:spcAft>
                <a:spcPct val="0"/>
              </a:spcAft>
              <a:defRPr/>
            </a:pPr>
            <a:endParaRPr lang="en-US" sz="1224"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55686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Bracket 6"/>
          <p:cNvSpPr/>
          <p:nvPr/>
        </p:nvSpPr>
        <p:spPr>
          <a:xfrm rot="16200000">
            <a:off x="4750994" y="-2118527"/>
            <a:ext cx="405546" cy="8606662"/>
          </a:xfrm>
          <a:prstGeom prst="rightBracket">
            <a:avLst/>
          </a:prstGeom>
          <a:ln w="381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kern="0">
              <a:solidFill>
                <a:sysClr val="windowText" lastClr="000000"/>
              </a:solidFill>
              <a:latin typeface="Segoe UI"/>
            </a:endParaRPr>
          </a:p>
        </p:txBody>
      </p:sp>
      <p:sp>
        <p:nvSpPr>
          <p:cNvPr id="2" name="Title 1"/>
          <p:cNvSpPr>
            <a:spLocks noGrp="1"/>
          </p:cNvSpPr>
          <p:nvPr>
            <p:ph type="title"/>
          </p:nvPr>
        </p:nvSpPr>
        <p:spPr/>
        <p:txBody>
          <a:bodyPr/>
          <a:lstStyle/>
          <a:p>
            <a:r>
              <a:rPr lang="en-US" sz="5100" dirty="0"/>
              <a:t>Microsoft Partner Technical Services</a:t>
            </a:r>
          </a:p>
        </p:txBody>
      </p:sp>
      <p:sp>
        <p:nvSpPr>
          <p:cNvPr id="8" name="Rectangle 7"/>
          <p:cNvSpPr/>
          <p:nvPr/>
        </p:nvSpPr>
        <p:spPr bwMode="auto">
          <a:xfrm>
            <a:off x="839428" y="2898468"/>
            <a:ext cx="2634150" cy="1658916"/>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Win more deals through Partner focused business and technical consultation, and training:</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Technical presales assistance</a:t>
            </a:r>
          </a:p>
        </p:txBody>
      </p:sp>
      <p:sp>
        <p:nvSpPr>
          <p:cNvPr id="9" name="Rectangle 8"/>
          <p:cNvSpPr/>
          <p:nvPr/>
        </p:nvSpPr>
        <p:spPr bwMode="auto">
          <a:xfrm>
            <a:off x="3635909" y="2898468"/>
            <a:ext cx="2643411" cy="1658916"/>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Accelerate the design &amp; deployment phases, and drive consumption of solutions with technical content, advice and training: </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Advisory Hours</a:t>
            </a:r>
          </a:p>
        </p:txBody>
      </p:sp>
      <p:sp>
        <p:nvSpPr>
          <p:cNvPr id="11" name="Rectangle 10"/>
          <p:cNvSpPr/>
          <p:nvPr/>
        </p:nvSpPr>
        <p:spPr>
          <a:xfrm>
            <a:off x="467998" y="1037186"/>
            <a:ext cx="11510460" cy="690587"/>
          </a:xfrm>
          <a:prstGeom prst="rect">
            <a:avLst/>
          </a:prstGeom>
        </p:spPr>
        <p:txBody>
          <a:bodyPr wrap="square" lIns="0" tIns="0" rIns="0" bIns="0" anchor="ctr">
            <a:spAutoFit/>
          </a:bodyPr>
          <a:lstStyle/>
          <a:p>
            <a:pPr defTabSz="914224">
              <a:spcBef>
                <a:spcPts val="600"/>
              </a:spcBef>
              <a:defRPr/>
            </a:pPr>
            <a:r>
              <a:rPr lang="en-US" sz="2200" kern="0" dirty="0">
                <a:solidFill>
                  <a:srgbClr val="0078D7"/>
                </a:solidFill>
                <a:latin typeface="Segoe UI Light"/>
              </a:rPr>
              <a:t>Helping partners win more deals, accelerate deployment, increase consumption and support Microsoft solutions throughout every stage of your customer relationships.</a:t>
            </a:r>
            <a:endParaRPr lang="en-IN" sz="2200" kern="0" dirty="0">
              <a:solidFill>
                <a:srgbClr val="0078D7"/>
              </a:solidFill>
              <a:latin typeface="Segoe UI Light"/>
            </a:endParaRPr>
          </a:p>
        </p:txBody>
      </p:sp>
      <p:sp>
        <p:nvSpPr>
          <p:cNvPr id="14" name="Rectangle 13"/>
          <p:cNvSpPr/>
          <p:nvPr/>
        </p:nvSpPr>
        <p:spPr bwMode="auto">
          <a:xfrm>
            <a:off x="839429" y="5058166"/>
            <a:ext cx="8242750" cy="374677"/>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Microsoft partner online support resources</a:t>
            </a:r>
            <a:endParaRPr lang="en-GB" sz="1599" kern="0" dirty="0">
              <a:solidFill>
                <a:srgbClr val="002050"/>
              </a:solidFill>
              <a:latin typeface="Segoe UI"/>
              <a:ea typeface="Segoe UI" pitchFamily="34" charset="0"/>
              <a:cs typeface="Segoe UI" pitchFamily="34" charset="0"/>
            </a:endParaRPr>
          </a:p>
        </p:txBody>
      </p:sp>
      <p:sp>
        <p:nvSpPr>
          <p:cNvPr id="13" name="Rectangle 12"/>
          <p:cNvSpPr/>
          <p:nvPr/>
        </p:nvSpPr>
        <p:spPr bwMode="auto">
          <a:xfrm>
            <a:off x="6446804" y="2898469"/>
            <a:ext cx="2638780" cy="209510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t" anchorCtr="0" forceAA="0" compatLnSpc="1">
            <a:prstTxWarp prst="textNoShape">
              <a:avLst/>
            </a:prstTxWarp>
            <a:noAutofit/>
          </a:bodyPr>
          <a:lstStyle/>
          <a:p>
            <a:pPr defTabSz="913561" fontAlgn="base">
              <a:spcBef>
                <a:spcPct val="0"/>
              </a:spcBef>
              <a:spcAft>
                <a:spcPct val="0"/>
              </a:spcAft>
              <a:defRPr/>
            </a:pPr>
            <a:r>
              <a:rPr lang="en-US" sz="1399" kern="0" dirty="0">
                <a:solidFill>
                  <a:srgbClr val="505050"/>
                </a:solidFill>
                <a:latin typeface="Segoe UI Light"/>
                <a:ea typeface="Segoe UI" pitchFamily="34" charset="0"/>
                <a:cs typeface="Segoe UI Semibold" panose="020B0702040204020203" pitchFamily="34" charset="0"/>
              </a:rPr>
              <a:t>Resolve technical roadblocks by engaging with our support teams to resolve problems:</a:t>
            </a:r>
          </a:p>
          <a:p>
            <a:pPr defTabSz="913561" fontAlgn="base">
              <a:spcBef>
                <a:spcPct val="0"/>
              </a:spcBef>
              <a:spcAft>
                <a:spcPct val="0"/>
              </a:spcAft>
              <a:defRPr/>
            </a:pPr>
            <a:endParaRPr lang="en-US" sz="104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Product support </a:t>
            </a:r>
          </a:p>
          <a:p>
            <a:pPr defTabSz="913561" fontAlgn="base">
              <a:spcBef>
                <a:spcPct val="0"/>
              </a:spcBef>
              <a:spcAft>
                <a:spcPct val="0"/>
              </a:spcAft>
              <a:defRPr/>
            </a:pPr>
            <a:endParaRPr lang="en-US" sz="1599" kern="0" dirty="0">
              <a:solidFill>
                <a:srgbClr val="505050"/>
              </a:solidFill>
              <a:latin typeface="Segoe UI Semibold" panose="020B0702040204020203" pitchFamily="34" charset="0"/>
              <a:ea typeface="Segoe UI" pitchFamily="34" charset="0"/>
              <a:cs typeface="Segoe UI Semibold" panose="020B0702040204020203" pitchFamily="34" charset="0"/>
            </a:endParaRPr>
          </a:p>
          <a:p>
            <a:pP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Signature Cloud Support</a:t>
            </a:r>
          </a:p>
        </p:txBody>
      </p:sp>
      <p:grpSp>
        <p:nvGrpSpPr>
          <p:cNvPr id="16" name="Group 15"/>
          <p:cNvGrpSpPr/>
          <p:nvPr/>
        </p:nvGrpSpPr>
        <p:grpSpPr>
          <a:xfrm>
            <a:off x="839428" y="2195519"/>
            <a:ext cx="2638780" cy="700908"/>
            <a:chOff x="2224963" y="219"/>
            <a:chExt cx="2495796" cy="1497477"/>
          </a:xfrm>
        </p:grpSpPr>
        <p:sp>
          <p:nvSpPr>
            <p:cNvPr id="23" name="Rectangle 22"/>
            <p:cNvSpPr/>
            <p:nvPr/>
          </p:nvSpPr>
          <p:spPr>
            <a:xfrm>
              <a:off x="2224963" y="219"/>
              <a:ext cx="2495796" cy="1497477"/>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4" name="TextBox 23"/>
            <p:cNvSpPr txBox="1"/>
            <p:nvPr/>
          </p:nvSpPr>
          <p:spPr>
            <a:xfrm>
              <a:off x="2224963"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Sell</a:t>
              </a:r>
            </a:p>
          </p:txBody>
        </p:sp>
      </p:grpSp>
      <p:grpSp>
        <p:nvGrpSpPr>
          <p:cNvPr id="17" name="Group 16"/>
          <p:cNvGrpSpPr/>
          <p:nvPr/>
        </p:nvGrpSpPr>
        <p:grpSpPr>
          <a:xfrm>
            <a:off x="3636055" y="2195519"/>
            <a:ext cx="2638780" cy="700908"/>
            <a:chOff x="4970339" y="219"/>
            <a:chExt cx="2495796" cy="1497477"/>
          </a:xfrm>
        </p:grpSpPr>
        <p:sp>
          <p:nvSpPr>
            <p:cNvPr id="21" name="Rectangle 20"/>
            <p:cNvSpPr/>
            <p:nvPr/>
          </p:nvSpPr>
          <p:spPr>
            <a:xfrm>
              <a:off x="4970339" y="219"/>
              <a:ext cx="2495796" cy="1497477"/>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2" name="TextBox 21"/>
            <p:cNvSpPr txBox="1"/>
            <p:nvPr/>
          </p:nvSpPr>
          <p:spPr>
            <a:xfrm>
              <a:off x="4970339"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Deploy</a:t>
              </a:r>
            </a:p>
          </p:txBody>
        </p:sp>
      </p:grpSp>
      <p:grpSp>
        <p:nvGrpSpPr>
          <p:cNvPr id="18" name="Group 17"/>
          <p:cNvGrpSpPr/>
          <p:nvPr/>
        </p:nvGrpSpPr>
        <p:grpSpPr>
          <a:xfrm>
            <a:off x="6446804" y="2195519"/>
            <a:ext cx="2638780" cy="700908"/>
            <a:chOff x="7715715" y="219"/>
            <a:chExt cx="2495796" cy="1497477"/>
          </a:xfrm>
        </p:grpSpPr>
        <p:sp>
          <p:nvSpPr>
            <p:cNvPr id="19" name="Rectangle 18"/>
            <p:cNvSpPr/>
            <p:nvPr/>
          </p:nvSpPr>
          <p:spPr>
            <a:xfrm>
              <a:off x="7715715" y="219"/>
              <a:ext cx="2495796" cy="1497477"/>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0" name="TextBox 19"/>
            <p:cNvSpPr txBox="1"/>
            <p:nvPr/>
          </p:nvSpPr>
          <p:spPr>
            <a:xfrm>
              <a:off x="7715715" y="219"/>
              <a:ext cx="2495796" cy="14974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65" tIns="106665" rIns="106665" bIns="106665" numCol="1" spcCol="1270" anchor="t" anchorCtr="0">
              <a:noAutofit/>
            </a:bodyPr>
            <a:lstStyle/>
            <a:p>
              <a:pPr defTabSz="1244361">
                <a:lnSpc>
                  <a:spcPct val="90000"/>
                </a:lnSpc>
                <a:spcBef>
                  <a:spcPct val="0"/>
                </a:spcBef>
                <a:spcAft>
                  <a:spcPct val="35000"/>
                </a:spcAft>
                <a:defRPr/>
              </a:pPr>
              <a:r>
                <a:rPr lang="en-US" sz="2800" kern="0" dirty="0">
                  <a:solidFill>
                    <a:sysClr val="windowText" lastClr="000000"/>
                  </a:solidFill>
                  <a:latin typeface="Segoe UI"/>
                </a:rPr>
                <a:t>Support</a:t>
              </a:r>
            </a:p>
          </p:txBody>
        </p:sp>
      </p:grpSp>
      <p:sp>
        <p:nvSpPr>
          <p:cNvPr id="26" name="Rectangle 25"/>
          <p:cNvSpPr/>
          <p:nvPr/>
        </p:nvSpPr>
        <p:spPr bwMode="auto">
          <a:xfrm>
            <a:off x="839428" y="4618800"/>
            <a:ext cx="5435408" cy="377952"/>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Technical training</a:t>
            </a:r>
            <a:endParaRPr lang="en-GB" sz="1599" kern="0" dirty="0">
              <a:solidFill>
                <a:srgbClr val="002050"/>
              </a:solidFill>
              <a:latin typeface="Segoe UI"/>
              <a:ea typeface="Segoe UI" pitchFamily="34" charset="0"/>
              <a:cs typeface="Segoe UI" pitchFamily="34" charset="0"/>
            </a:endParaRPr>
          </a:p>
        </p:txBody>
      </p:sp>
      <p:sp>
        <p:nvSpPr>
          <p:cNvPr id="178" name="Rectangle 177"/>
          <p:cNvSpPr/>
          <p:nvPr/>
        </p:nvSpPr>
        <p:spPr bwMode="auto">
          <a:xfrm>
            <a:off x="2071939" y="1841878"/>
            <a:ext cx="251942" cy="251942"/>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Rectangle 178"/>
          <p:cNvSpPr/>
          <p:nvPr/>
        </p:nvSpPr>
        <p:spPr bwMode="auto">
          <a:xfrm>
            <a:off x="4838124" y="1841878"/>
            <a:ext cx="251942" cy="25194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0" name="Rectangle 179"/>
          <p:cNvSpPr/>
          <p:nvPr/>
        </p:nvSpPr>
        <p:spPr bwMode="auto">
          <a:xfrm>
            <a:off x="7623323" y="1841878"/>
            <a:ext cx="251942" cy="2519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Rectangle 183"/>
          <p:cNvSpPr/>
          <p:nvPr/>
        </p:nvSpPr>
        <p:spPr>
          <a:xfrm>
            <a:off x="9729193" y="5193983"/>
            <a:ext cx="2209487" cy="752976"/>
          </a:xfrm>
          <a:prstGeom prst="rect">
            <a:avLst/>
          </a:prstGeom>
        </p:spPr>
        <p:txBody>
          <a:bodyPr wrap="square">
            <a:spAutoFit/>
          </a:bodyPr>
          <a:lstStyle/>
          <a:p>
            <a:pPr defTabSz="914224">
              <a:defRPr/>
            </a:pPr>
            <a:r>
              <a:rPr lang="en-US" sz="1399" kern="0" dirty="0">
                <a:solidFill>
                  <a:srgbClr val="0078D7"/>
                </a:solidFill>
                <a:latin typeface="Segoe UI Light"/>
                <a:ea typeface="Calibri" panose="020F0502020204030204" pitchFamily="34" charset="0"/>
              </a:rPr>
              <a:t>Partner Technical Services will set your business apart and help you succeed.</a:t>
            </a:r>
            <a:endParaRPr lang="en-US" sz="1399" kern="0" dirty="0">
              <a:solidFill>
                <a:srgbClr val="0078D7"/>
              </a:solidFill>
              <a:latin typeface="Segoe UI Light"/>
            </a:endParaRPr>
          </a:p>
        </p:txBody>
      </p:sp>
      <p:grpSp>
        <p:nvGrpSpPr>
          <p:cNvPr id="185" name="Group 119"/>
          <p:cNvGrpSpPr>
            <a:grpSpLocks noChangeAspect="1"/>
          </p:cNvGrpSpPr>
          <p:nvPr/>
        </p:nvGrpSpPr>
        <p:grpSpPr bwMode="auto">
          <a:xfrm>
            <a:off x="9841892" y="2567100"/>
            <a:ext cx="1994674" cy="2577678"/>
            <a:chOff x="6388" y="2224"/>
            <a:chExt cx="1153" cy="1490"/>
          </a:xfrm>
        </p:grpSpPr>
        <p:sp>
          <p:nvSpPr>
            <p:cNvPr id="186" name="AutoShape 118"/>
            <p:cNvSpPr>
              <a:spLocks noChangeAspect="1" noChangeArrowheads="1" noTextEdit="1"/>
            </p:cNvSpPr>
            <p:nvPr/>
          </p:nvSpPr>
          <p:spPr bwMode="auto">
            <a:xfrm>
              <a:off x="6388" y="2224"/>
              <a:ext cx="1152" cy="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7" name="Rectangle 120"/>
            <p:cNvSpPr>
              <a:spLocks noChangeArrowheads="1"/>
            </p:cNvSpPr>
            <p:nvPr/>
          </p:nvSpPr>
          <p:spPr bwMode="auto">
            <a:xfrm>
              <a:off x="6389" y="2224"/>
              <a:ext cx="1152" cy="14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8" name="Freeform 121"/>
            <p:cNvSpPr>
              <a:spLocks/>
            </p:cNvSpPr>
            <p:nvPr/>
          </p:nvSpPr>
          <p:spPr bwMode="auto">
            <a:xfrm>
              <a:off x="6693" y="2586"/>
              <a:ext cx="474" cy="724"/>
            </a:xfrm>
            <a:custGeom>
              <a:avLst/>
              <a:gdLst>
                <a:gd name="T0" fmla="*/ 1007 w 1007"/>
                <a:gd name="T1" fmla="*/ 277 h 1539"/>
                <a:gd name="T2" fmla="*/ 933 w 1007"/>
                <a:gd name="T3" fmla="*/ 203 h 1539"/>
                <a:gd name="T4" fmla="*/ 859 w 1007"/>
                <a:gd name="T5" fmla="*/ 277 h 1539"/>
                <a:gd name="T6" fmla="*/ 859 w 1007"/>
                <a:gd name="T7" fmla="*/ 689 h 1539"/>
                <a:gd name="T8" fmla="*/ 823 w 1007"/>
                <a:gd name="T9" fmla="*/ 689 h 1539"/>
                <a:gd name="T10" fmla="*/ 823 w 1007"/>
                <a:gd name="T11" fmla="*/ 197 h 1539"/>
                <a:gd name="T12" fmla="*/ 823 w 1007"/>
                <a:gd name="T13" fmla="*/ 197 h 1539"/>
                <a:gd name="T14" fmla="*/ 749 w 1007"/>
                <a:gd name="T15" fmla="*/ 124 h 1539"/>
                <a:gd name="T16" fmla="*/ 676 w 1007"/>
                <a:gd name="T17" fmla="*/ 197 h 1539"/>
                <a:gd name="T18" fmla="*/ 676 w 1007"/>
                <a:gd name="T19" fmla="*/ 197 h 1539"/>
                <a:gd name="T20" fmla="*/ 676 w 1007"/>
                <a:gd name="T21" fmla="*/ 646 h 1539"/>
                <a:gd name="T22" fmla="*/ 639 w 1007"/>
                <a:gd name="T23" fmla="*/ 646 h 1539"/>
                <a:gd name="T24" fmla="*/ 639 w 1007"/>
                <a:gd name="T25" fmla="*/ 73 h 1539"/>
                <a:gd name="T26" fmla="*/ 566 w 1007"/>
                <a:gd name="T27" fmla="*/ 0 h 1539"/>
                <a:gd name="T28" fmla="*/ 492 w 1007"/>
                <a:gd name="T29" fmla="*/ 73 h 1539"/>
                <a:gd name="T30" fmla="*/ 492 w 1007"/>
                <a:gd name="T31" fmla="*/ 603 h 1539"/>
                <a:gd name="T32" fmla="*/ 455 w 1007"/>
                <a:gd name="T33" fmla="*/ 603 h 1539"/>
                <a:gd name="T34" fmla="*/ 455 w 1007"/>
                <a:gd name="T35" fmla="*/ 391 h 1539"/>
                <a:gd name="T36" fmla="*/ 455 w 1007"/>
                <a:gd name="T37" fmla="*/ 160 h 1539"/>
                <a:gd name="T38" fmla="*/ 382 w 1007"/>
                <a:gd name="T39" fmla="*/ 86 h 1539"/>
                <a:gd name="T40" fmla="*/ 308 w 1007"/>
                <a:gd name="T41" fmla="*/ 160 h 1539"/>
                <a:gd name="T42" fmla="*/ 308 w 1007"/>
                <a:gd name="T43" fmla="*/ 689 h 1539"/>
                <a:gd name="T44" fmla="*/ 309 w 1007"/>
                <a:gd name="T45" fmla="*/ 690 h 1539"/>
                <a:gd name="T46" fmla="*/ 309 w 1007"/>
                <a:gd name="T47" fmla="*/ 867 h 1539"/>
                <a:gd name="T48" fmla="*/ 146 w 1007"/>
                <a:gd name="T49" fmla="*/ 552 h 1539"/>
                <a:gd name="T50" fmla="*/ 44 w 1007"/>
                <a:gd name="T51" fmla="*/ 530 h 1539"/>
                <a:gd name="T52" fmla="*/ 22 w 1007"/>
                <a:gd name="T53" fmla="*/ 631 h 1539"/>
                <a:gd name="T54" fmla="*/ 210 w 1007"/>
                <a:gd name="T55" fmla="*/ 1025 h 1539"/>
                <a:gd name="T56" fmla="*/ 404 w 1007"/>
                <a:gd name="T57" fmla="*/ 1296 h 1539"/>
                <a:gd name="T58" fmla="*/ 404 w 1007"/>
                <a:gd name="T59" fmla="*/ 1539 h 1539"/>
                <a:gd name="T60" fmla="*/ 946 w 1007"/>
                <a:gd name="T61" fmla="*/ 1539 h 1539"/>
                <a:gd name="T62" fmla="*/ 945 w 1007"/>
                <a:gd name="T63" fmla="*/ 1305 h 1539"/>
                <a:gd name="T64" fmla="*/ 1007 w 1007"/>
                <a:gd name="T65" fmla="*/ 1029 h 1539"/>
                <a:gd name="T66" fmla="*/ 1007 w 1007"/>
                <a:gd name="T67" fmla="*/ 277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7" h="1539">
                  <a:moveTo>
                    <a:pt x="1007" y="277"/>
                  </a:moveTo>
                  <a:cubicBezTo>
                    <a:pt x="1007" y="236"/>
                    <a:pt x="974" y="203"/>
                    <a:pt x="933" y="203"/>
                  </a:cubicBezTo>
                  <a:cubicBezTo>
                    <a:pt x="892" y="203"/>
                    <a:pt x="859" y="236"/>
                    <a:pt x="859" y="277"/>
                  </a:cubicBezTo>
                  <a:cubicBezTo>
                    <a:pt x="859" y="689"/>
                    <a:pt x="859" y="689"/>
                    <a:pt x="859" y="689"/>
                  </a:cubicBezTo>
                  <a:cubicBezTo>
                    <a:pt x="823" y="689"/>
                    <a:pt x="823" y="689"/>
                    <a:pt x="823" y="689"/>
                  </a:cubicBezTo>
                  <a:cubicBezTo>
                    <a:pt x="823" y="197"/>
                    <a:pt x="823" y="197"/>
                    <a:pt x="823" y="197"/>
                  </a:cubicBezTo>
                  <a:cubicBezTo>
                    <a:pt x="823" y="197"/>
                    <a:pt x="823" y="197"/>
                    <a:pt x="823" y="197"/>
                  </a:cubicBezTo>
                  <a:cubicBezTo>
                    <a:pt x="823" y="156"/>
                    <a:pt x="790" y="124"/>
                    <a:pt x="749" y="124"/>
                  </a:cubicBezTo>
                  <a:cubicBezTo>
                    <a:pt x="709" y="124"/>
                    <a:pt x="676" y="156"/>
                    <a:pt x="676" y="197"/>
                  </a:cubicBezTo>
                  <a:cubicBezTo>
                    <a:pt x="676" y="197"/>
                    <a:pt x="676" y="197"/>
                    <a:pt x="676" y="197"/>
                  </a:cubicBezTo>
                  <a:cubicBezTo>
                    <a:pt x="676" y="646"/>
                    <a:pt x="676" y="646"/>
                    <a:pt x="676" y="646"/>
                  </a:cubicBezTo>
                  <a:cubicBezTo>
                    <a:pt x="639" y="646"/>
                    <a:pt x="639" y="646"/>
                    <a:pt x="639" y="646"/>
                  </a:cubicBezTo>
                  <a:cubicBezTo>
                    <a:pt x="639" y="73"/>
                    <a:pt x="639" y="73"/>
                    <a:pt x="639" y="73"/>
                  </a:cubicBezTo>
                  <a:cubicBezTo>
                    <a:pt x="639" y="33"/>
                    <a:pt x="606" y="0"/>
                    <a:pt x="566" y="0"/>
                  </a:cubicBezTo>
                  <a:cubicBezTo>
                    <a:pt x="525" y="0"/>
                    <a:pt x="492" y="33"/>
                    <a:pt x="492" y="73"/>
                  </a:cubicBezTo>
                  <a:cubicBezTo>
                    <a:pt x="492" y="603"/>
                    <a:pt x="492" y="603"/>
                    <a:pt x="492" y="603"/>
                  </a:cubicBezTo>
                  <a:cubicBezTo>
                    <a:pt x="455" y="603"/>
                    <a:pt x="455" y="603"/>
                    <a:pt x="455" y="603"/>
                  </a:cubicBezTo>
                  <a:cubicBezTo>
                    <a:pt x="455" y="391"/>
                    <a:pt x="455" y="391"/>
                    <a:pt x="455" y="391"/>
                  </a:cubicBezTo>
                  <a:cubicBezTo>
                    <a:pt x="455" y="160"/>
                    <a:pt x="455" y="160"/>
                    <a:pt x="455" y="160"/>
                  </a:cubicBezTo>
                  <a:cubicBezTo>
                    <a:pt x="455" y="119"/>
                    <a:pt x="422" y="86"/>
                    <a:pt x="382" y="86"/>
                  </a:cubicBezTo>
                  <a:cubicBezTo>
                    <a:pt x="341" y="86"/>
                    <a:pt x="308" y="119"/>
                    <a:pt x="308" y="160"/>
                  </a:cubicBezTo>
                  <a:cubicBezTo>
                    <a:pt x="308" y="689"/>
                    <a:pt x="308" y="689"/>
                    <a:pt x="308" y="689"/>
                  </a:cubicBezTo>
                  <a:cubicBezTo>
                    <a:pt x="309" y="690"/>
                    <a:pt x="309" y="690"/>
                    <a:pt x="309" y="690"/>
                  </a:cubicBezTo>
                  <a:cubicBezTo>
                    <a:pt x="309" y="867"/>
                    <a:pt x="309" y="867"/>
                    <a:pt x="309" y="867"/>
                  </a:cubicBezTo>
                  <a:cubicBezTo>
                    <a:pt x="146" y="552"/>
                    <a:pt x="146" y="552"/>
                    <a:pt x="146" y="552"/>
                  </a:cubicBezTo>
                  <a:cubicBezTo>
                    <a:pt x="124" y="518"/>
                    <a:pt x="79" y="508"/>
                    <a:pt x="44" y="530"/>
                  </a:cubicBezTo>
                  <a:cubicBezTo>
                    <a:pt x="10" y="552"/>
                    <a:pt x="0" y="597"/>
                    <a:pt x="22" y="631"/>
                  </a:cubicBezTo>
                  <a:cubicBezTo>
                    <a:pt x="210" y="1025"/>
                    <a:pt x="210" y="1025"/>
                    <a:pt x="210" y="1025"/>
                  </a:cubicBezTo>
                  <a:cubicBezTo>
                    <a:pt x="404" y="1296"/>
                    <a:pt x="404" y="1296"/>
                    <a:pt x="404" y="1296"/>
                  </a:cubicBezTo>
                  <a:cubicBezTo>
                    <a:pt x="404" y="1539"/>
                    <a:pt x="404" y="1539"/>
                    <a:pt x="404" y="1539"/>
                  </a:cubicBezTo>
                  <a:cubicBezTo>
                    <a:pt x="946" y="1539"/>
                    <a:pt x="946" y="1539"/>
                    <a:pt x="946" y="1539"/>
                  </a:cubicBezTo>
                  <a:cubicBezTo>
                    <a:pt x="945" y="1305"/>
                    <a:pt x="945" y="1305"/>
                    <a:pt x="945" y="1305"/>
                  </a:cubicBezTo>
                  <a:cubicBezTo>
                    <a:pt x="1007" y="1029"/>
                    <a:pt x="1007" y="1029"/>
                    <a:pt x="1007" y="1029"/>
                  </a:cubicBezTo>
                  <a:lnTo>
                    <a:pt x="1007" y="27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9" name="Oval 122"/>
            <p:cNvSpPr>
              <a:spLocks noChangeArrowheads="1"/>
            </p:cNvSpPr>
            <p:nvPr/>
          </p:nvSpPr>
          <p:spPr bwMode="auto">
            <a:xfrm>
              <a:off x="7455" y="2697"/>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0" name="Oval 123"/>
            <p:cNvSpPr>
              <a:spLocks noChangeArrowheads="1"/>
            </p:cNvSpPr>
            <p:nvPr/>
          </p:nvSpPr>
          <p:spPr bwMode="auto">
            <a:xfrm>
              <a:off x="6594" y="2334"/>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1" name="Oval 124"/>
            <p:cNvSpPr>
              <a:spLocks noChangeArrowheads="1"/>
            </p:cNvSpPr>
            <p:nvPr/>
          </p:nvSpPr>
          <p:spPr bwMode="auto">
            <a:xfrm>
              <a:off x="7109" y="2416"/>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2" name="Oval 125"/>
            <p:cNvSpPr>
              <a:spLocks noChangeArrowheads="1"/>
            </p:cNvSpPr>
            <p:nvPr/>
          </p:nvSpPr>
          <p:spPr bwMode="auto">
            <a:xfrm>
              <a:off x="7290" y="244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3" name="Oval 126"/>
            <p:cNvSpPr>
              <a:spLocks noChangeArrowheads="1"/>
            </p:cNvSpPr>
            <p:nvPr/>
          </p:nvSpPr>
          <p:spPr bwMode="auto">
            <a:xfrm>
              <a:off x="7025" y="236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4" name="Oval 127"/>
            <p:cNvSpPr>
              <a:spLocks noChangeArrowheads="1"/>
            </p:cNvSpPr>
            <p:nvPr/>
          </p:nvSpPr>
          <p:spPr bwMode="auto">
            <a:xfrm>
              <a:off x="7264" y="230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5" name="Oval 128"/>
            <p:cNvSpPr>
              <a:spLocks noChangeArrowheads="1"/>
            </p:cNvSpPr>
            <p:nvPr/>
          </p:nvSpPr>
          <p:spPr bwMode="auto">
            <a:xfrm>
              <a:off x="6850" y="244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6" name="Oval 129"/>
            <p:cNvSpPr>
              <a:spLocks noChangeArrowheads="1"/>
            </p:cNvSpPr>
            <p:nvPr/>
          </p:nvSpPr>
          <p:spPr bwMode="auto">
            <a:xfrm>
              <a:off x="6965" y="248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7" name="Oval 130"/>
            <p:cNvSpPr>
              <a:spLocks noChangeArrowheads="1"/>
            </p:cNvSpPr>
            <p:nvPr/>
          </p:nvSpPr>
          <p:spPr bwMode="auto">
            <a:xfrm>
              <a:off x="7116" y="2502"/>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8" name="Oval 131"/>
            <p:cNvSpPr>
              <a:spLocks noChangeArrowheads="1"/>
            </p:cNvSpPr>
            <p:nvPr/>
          </p:nvSpPr>
          <p:spPr bwMode="auto">
            <a:xfrm>
              <a:off x="7437" y="3149"/>
              <a:ext cx="15"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99" name="Oval 132"/>
            <p:cNvSpPr>
              <a:spLocks noChangeArrowheads="1"/>
            </p:cNvSpPr>
            <p:nvPr/>
          </p:nvSpPr>
          <p:spPr bwMode="auto">
            <a:xfrm>
              <a:off x="7350" y="3054"/>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0" name="Oval 133"/>
            <p:cNvSpPr>
              <a:spLocks noChangeArrowheads="1"/>
            </p:cNvSpPr>
            <p:nvPr/>
          </p:nvSpPr>
          <p:spPr bwMode="auto">
            <a:xfrm>
              <a:off x="7401" y="3295"/>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1" name="Oval 134"/>
            <p:cNvSpPr>
              <a:spLocks noChangeArrowheads="1"/>
            </p:cNvSpPr>
            <p:nvPr/>
          </p:nvSpPr>
          <p:spPr bwMode="auto">
            <a:xfrm>
              <a:off x="7415" y="3493"/>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2" name="Oval 135"/>
            <p:cNvSpPr>
              <a:spLocks noChangeArrowheads="1"/>
            </p:cNvSpPr>
            <p:nvPr/>
          </p:nvSpPr>
          <p:spPr bwMode="auto">
            <a:xfrm>
              <a:off x="7290" y="3415"/>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3" name="Oval 136"/>
            <p:cNvSpPr>
              <a:spLocks noChangeArrowheads="1"/>
            </p:cNvSpPr>
            <p:nvPr/>
          </p:nvSpPr>
          <p:spPr bwMode="auto">
            <a:xfrm>
              <a:off x="7202" y="3477"/>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4" name="Oval 137"/>
            <p:cNvSpPr>
              <a:spLocks noChangeArrowheads="1"/>
            </p:cNvSpPr>
            <p:nvPr/>
          </p:nvSpPr>
          <p:spPr bwMode="auto">
            <a:xfrm>
              <a:off x="7332" y="357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5" name="Oval 138"/>
            <p:cNvSpPr>
              <a:spLocks noChangeArrowheads="1"/>
            </p:cNvSpPr>
            <p:nvPr/>
          </p:nvSpPr>
          <p:spPr bwMode="auto">
            <a:xfrm>
              <a:off x="7408" y="260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6" name="Oval 139"/>
            <p:cNvSpPr>
              <a:spLocks noChangeArrowheads="1"/>
            </p:cNvSpPr>
            <p:nvPr/>
          </p:nvSpPr>
          <p:spPr bwMode="auto">
            <a:xfrm>
              <a:off x="7332" y="2741"/>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7" name="Oval 140"/>
            <p:cNvSpPr>
              <a:spLocks noChangeArrowheads="1"/>
            </p:cNvSpPr>
            <p:nvPr/>
          </p:nvSpPr>
          <p:spPr bwMode="auto">
            <a:xfrm>
              <a:off x="6743" y="2369"/>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8" name="Oval 141"/>
            <p:cNvSpPr>
              <a:spLocks noChangeArrowheads="1"/>
            </p:cNvSpPr>
            <p:nvPr/>
          </p:nvSpPr>
          <p:spPr bwMode="auto">
            <a:xfrm>
              <a:off x="6594" y="2430"/>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09" name="Oval 142"/>
            <p:cNvSpPr>
              <a:spLocks noChangeArrowheads="1"/>
            </p:cNvSpPr>
            <p:nvPr/>
          </p:nvSpPr>
          <p:spPr bwMode="auto">
            <a:xfrm>
              <a:off x="6529" y="3295"/>
              <a:ext cx="13"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0" name="Oval 143"/>
            <p:cNvSpPr>
              <a:spLocks noChangeArrowheads="1"/>
            </p:cNvSpPr>
            <p:nvPr/>
          </p:nvSpPr>
          <p:spPr bwMode="auto">
            <a:xfrm>
              <a:off x="6873" y="2306"/>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1" name="Oval 144"/>
            <p:cNvSpPr>
              <a:spLocks noChangeArrowheads="1"/>
            </p:cNvSpPr>
            <p:nvPr/>
          </p:nvSpPr>
          <p:spPr bwMode="auto">
            <a:xfrm>
              <a:off x="7069" y="2293"/>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2" name="Oval 145"/>
            <p:cNvSpPr>
              <a:spLocks noChangeArrowheads="1"/>
            </p:cNvSpPr>
            <p:nvPr/>
          </p:nvSpPr>
          <p:spPr bwMode="auto">
            <a:xfrm>
              <a:off x="7388" y="2451"/>
              <a:ext cx="13"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3" name="Oval 146"/>
            <p:cNvSpPr>
              <a:spLocks noChangeArrowheads="1"/>
            </p:cNvSpPr>
            <p:nvPr/>
          </p:nvSpPr>
          <p:spPr bwMode="auto">
            <a:xfrm>
              <a:off x="7328" y="2502"/>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4" name="Oval 147"/>
            <p:cNvSpPr>
              <a:spLocks noChangeArrowheads="1"/>
            </p:cNvSpPr>
            <p:nvPr/>
          </p:nvSpPr>
          <p:spPr bwMode="auto">
            <a:xfrm>
              <a:off x="7032" y="259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5" name="Oval 148"/>
            <p:cNvSpPr>
              <a:spLocks noChangeArrowheads="1"/>
            </p:cNvSpPr>
            <p:nvPr/>
          </p:nvSpPr>
          <p:spPr bwMode="auto">
            <a:xfrm>
              <a:off x="6508" y="2586"/>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6" name="Oval 149"/>
            <p:cNvSpPr>
              <a:spLocks noChangeArrowheads="1"/>
            </p:cNvSpPr>
            <p:nvPr/>
          </p:nvSpPr>
          <p:spPr bwMode="auto">
            <a:xfrm>
              <a:off x="6471" y="2409"/>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7" name="Oval 150"/>
            <p:cNvSpPr>
              <a:spLocks noChangeArrowheads="1"/>
            </p:cNvSpPr>
            <p:nvPr/>
          </p:nvSpPr>
          <p:spPr bwMode="auto">
            <a:xfrm>
              <a:off x="6580" y="2767"/>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8" name="Oval 151"/>
            <p:cNvSpPr>
              <a:spLocks noChangeArrowheads="1"/>
            </p:cNvSpPr>
            <p:nvPr/>
          </p:nvSpPr>
          <p:spPr bwMode="auto">
            <a:xfrm>
              <a:off x="6485" y="2802"/>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9" name="Oval 152"/>
            <p:cNvSpPr>
              <a:spLocks noChangeArrowheads="1"/>
            </p:cNvSpPr>
            <p:nvPr/>
          </p:nvSpPr>
          <p:spPr bwMode="auto">
            <a:xfrm>
              <a:off x="6691" y="3408"/>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0" name="Oval 153"/>
            <p:cNvSpPr>
              <a:spLocks noChangeArrowheads="1"/>
            </p:cNvSpPr>
            <p:nvPr/>
          </p:nvSpPr>
          <p:spPr bwMode="auto">
            <a:xfrm>
              <a:off x="6665" y="357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1" name="Oval 154"/>
            <p:cNvSpPr>
              <a:spLocks noChangeArrowheads="1"/>
            </p:cNvSpPr>
            <p:nvPr/>
          </p:nvSpPr>
          <p:spPr bwMode="auto">
            <a:xfrm>
              <a:off x="6555" y="3469"/>
              <a:ext cx="13"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2" name="Oval 155"/>
            <p:cNvSpPr>
              <a:spLocks noChangeArrowheads="1"/>
            </p:cNvSpPr>
            <p:nvPr/>
          </p:nvSpPr>
          <p:spPr bwMode="auto">
            <a:xfrm>
              <a:off x="6471" y="3088"/>
              <a:ext cx="14"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3" name="Oval 156"/>
            <p:cNvSpPr>
              <a:spLocks noChangeArrowheads="1"/>
            </p:cNvSpPr>
            <p:nvPr/>
          </p:nvSpPr>
          <p:spPr bwMode="auto">
            <a:xfrm>
              <a:off x="6569" y="3162"/>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4" name="Oval 157"/>
            <p:cNvSpPr>
              <a:spLocks noChangeArrowheads="1"/>
            </p:cNvSpPr>
            <p:nvPr/>
          </p:nvSpPr>
          <p:spPr bwMode="auto">
            <a:xfrm>
              <a:off x="6522" y="3600"/>
              <a:ext cx="14" cy="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5" name="Freeform 158"/>
            <p:cNvSpPr>
              <a:spLocks noEditPoints="1"/>
            </p:cNvSpPr>
            <p:nvPr/>
          </p:nvSpPr>
          <p:spPr bwMode="auto">
            <a:xfrm>
              <a:off x="6854" y="3310"/>
              <a:ext cx="312" cy="403"/>
            </a:xfrm>
            <a:custGeom>
              <a:avLst/>
              <a:gdLst>
                <a:gd name="T0" fmla="*/ 0 w 312"/>
                <a:gd name="T1" fmla="*/ 403 h 403"/>
                <a:gd name="T2" fmla="*/ 312 w 312"/>
                <a:gd name="T3" fmla="*/ 403 h 403"/>
                <a:gd name="T4" fmla="*/ 312 w 312"/>
                <a:gd name="T5" fmla="*/ 104 h 403"/>
                <a:gd name="T6" fmla="*/ 0 w 312"/>
                <a:gd name="T7" fmla="*/ 104 h 403"/>
                <a:gd name="T8" fmla="*/ 0 w 312"/>
                <a:gd name="T9" fmla="*/ 403 h 403"/>
                <a:gd name="T10" fmla="*/ 0 w 312"/>
                <a:gd name="T11" fmla="*/ 86 h 403"/>
                <a:gd name="T12" fmla="*/ 312 w 312"/>
                <a:gd name="T13" fmla="*/ 86 h 403"/>
                <a:gd name="T14" fmla="*/ 312 w 312"/>
                <a:gd name="T15" fmla="*/ 67 h 403"/>
                <a:gd name="T16" fmla="*/ 0 w 312"/>
                <a:gd name="T17" fmla="*/ 67 h 403"/>
                <a:gd name="T18" fmla="*/ 0 w 312"/>
                <a:gd name="T19" fmla="*/ 86 h 403"/>
                <a:gd name="T20" fmla="*/ 0 w 312"/>
                <a:gd name="T21" fmla="*/ 48 h 403"/>
                <a:gd name="T22" fmla="*/ 312 w 312"/>
                <a:gd name="T23" fmla="*/ 48 h 403"/>
                <a:gd name="T24" fmla="*/ 312 w 312"/>
                <a:gd name="T25" fmla="*/ 0 h 403"/>
                <a:gd name="T26" fmla="*/ 0 w 312"/>
                <a:gd name="T27" fmla="*/ 0 h 403"/>
                <a:gd name="T28" fmla="*/ 0 w 312"/>
                <a:gd name="T29" fmla="*/ 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403">
                  <a:moveTo>
                    <a:pt x="0" y="403"/>
                  </a:moveTo>
                  <a:lnTo>
                    <a:pt x="312" y="403"/>
                  </a:lnTo>
                  <a:lnTo>
                    <a:pt x="312" y="104"/>
                  </a:lnTo>
                  <a:lnTo>
                    <a:pt x="0" y="104"/>
                  </a:lnTo>
                  <a:lnTo>
                    <a:pt x="0" y="403"/>
                  </a:lnTo>
                  <a:close/>
                  <a:moveTo>
                    <a:pt x="0" y="86"/>
                  </a:moveTo>
                  <a:lnTo>
                    <a:pt x="312" y="86"/>
                  </a:lnTo>
                  <a:lnTo>
                    <a:pt x="312" y="67"/>
                  </a:lnTo>
                  <a:lnTo>
                    <a:pt x="0" y="67"/>
                  </a:lnTo>
                  <a:lnTo>
                    <a:pt x="0" y="86"/>
                  </a:lnTo>
                  <a:close/>
                  <a:moveTo>
                    <a:pt x="0" y="48"/>
                  </a:moveTo>
                  <a:lnTo>
                    <a:pt x="312" y="48"/>
                  </a:lnTo>
                  <a:lnTo>
                    <a:pt x="312" y="0"/>
                  </a:lnTo>
                  <a:lnTo>
                    <a:pt x="0" y="0"/>
                  </a:lnTo>
                  <a:lnTo>
                    <a:pt x="0"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6" name="Freeform 159"/>
            <p:cNvSpPr>
              <a:spLocks noEditPoints="1"/>
            </p:cNvSpPr>
            <p:nvPr/>
          </p:nvSpPr>
          <p:spPr bwMode="auto">
            <a:xfrm>
              <a:off x="7173" y="2597"/>
              <a:ext cx="175" cy="104"/>
            </a:xfrm>
            <a:custGeom>
              <a:avLst/>
              <a:gdLst>
                <a:gd name="T0" fmla="*/ 281 w 372"/>
                <a:gd name="T1" fmla="*/ 71 h 221"/>
                <a:gd name="T2" fmla="*/ 284 w 372"/>
                <a:gd name="T3" fmla="*/ 71 h 221"/>
                <a:gd name="T4" fmla="*/ 206 w 372"/>
                <a:gd name="T5" fmla="*/ 0 h 221"/>
                <a:gd name="T6" fmla="*/ 136 w 372"/>
                <a:gd name="T7" fmla="*/ 42 h 221"/>
                <a:gd name="T8" fmla="*/ 106 w 372"/>
                <a:gd name="T9" fmla="*/ 34 h 221"/>
                <a:gd name="T10" fmla="*/ 46 w 372"/>
                <a:gd name="T11" fmla="*/ 94 h 221"/>
                <a:gd name="T12" fmla="*/ 47 w 372"/>
                <a:gd name="T13" fmla="*/ 104 h 221"/>
                <a:gd name="T14" fmla="*/ 0 w 372"/>
                <a:gd name="T15" fmla="*/ 153 h 221"/>
                <a:gd name="T16" fmla="*/ 46 w 372"/>
                <a:gd name="T17" fmla="*/ 202 h 221"/>
                <a:gd name="T18" fmla="*/ 46 w 372"/>
                <a:gd name="T19" fmla="*/ 202 h 221"/>
                <a:gd name="T20" fmla="*/ 49 w 372"/>
                <a:gd name="T21" fmla="*/ 202 h 221"/>
                <a:gd name="T22" fmla="*/ 49 w 372"/>
                <a:gd name="T23" fmla="*/ 202 h 221"/>
                <a:gd name="T24" fmla="*/ 49 w 372"/>
                <a:gd name="T25" fmla="*/ 202 h 221"/>
                <a:gd name="T26" fmla="*/ 82 w 372"/>
                <a:gd name="T27" fmla="*/ 202 h 221"/>
                <a:gd name="T28" fmla="*/ 72 w 372"/>
                <a:gd name="T29" fmla="*/ 171 h 221"/>
                <a:gd name="T30" fmla="*/ 125 w 372"/>
                <a:gd name="T31" fmla="*/ 113 h 221"/>
                <a:gd name="T32" fmla="*/ 200 w 372"/>
                <a:gd name="T33" fmla="*/ 49 h 221"/>
                <a:gd name="T34" fmla="*/ 259 w 372"/>
                <a:gd name="T35" fmla="*/ 76 h 221"/>
                <a:gd name="T36" fmla="*/ 281 w 372"/>
                <a:gd name="T37" fmla="*/ 71 h 221"/>
                <a:gd name="T38" fmla="*/ 336 w 372"/>
                <a:gd name="T39" fmla="*/ 139 h 221"/>
                <a:gd name="T40" fmla="*/ 337 w 372"/>
                <a:gd name="T41" fmla="*/ 136 h 221"/>
                <a:gd name="T42" fmla="*/ 283 w 372"/>
                <a:gd name="T43" fmla="*/ 82 h 221"/>
                <a:gd name="T44" fmla="*/ 256 w 372"/>
                <a:gd name="T45" fmla="*/ 89 h 221"/>
                <a:gd name="T46" fmla="*/ 200 w 372"/>
                <a:gd name="T47" fmla="*/ 58 h 221"/>
                <a:gd name="T48" fmla="*/ 136 w 372"/>
                <a:gd name="T49" fmla="*/ 122 h 221"/>
                <a:gd name="T50" fmla="*/ 133 w 372"/>
                <a:gd name="T51" fmla="*/ 121 h 221"/>
                <a:gd name="T52" fmla="*/ 84 w 372"/>
                <a:gd name="T53" fmla="*/ 171 h 221"/>
                <a:gd name="T54" fmla="*/ 133 w 372"/>
                <a:gd name="T55" fmla="*/ 220 h 221"/>
                <a:gd name="T56" fmla="*/ 133 w 372"/>
                <a:gd name="T57" fmla="*/ 220 h 221"/>
                <a:gd name="T58" fmla="*/ 133 w 372"/>
                <a:gd name="T59" fmla="*/ 220 h 221"/>
                <a:gd name="T60" fmla="*/ 322 w 372"/>
                <a:gd name="T61" fmla="*/ 220 h 221"/>
                <a:gd name="T62" fmla="*/ 331 w 372"/>
                <a:gd name="T63" fmla="*/ 221 h 221"/>
                <a:gd name="T64" fmla="*/ 372 w 372"/>
                <a:gd name="T65" fmla="*/ 180 h 221"/>
                <a:gd name="T66" fmla="*/ 336 w 372"/>
                <a:gd name="T67" fmla="*/ 13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21">
                  <a:moveTo>
                    <a:pt x="281" y="71"/>
                  </a:moveTo>
                  <a:cubicBezTo>
                    <a:pt x="282" y="71"/>
                    <a:pt x="283" y="71"/>
                    <a:pt x="284" y="71"/>
                  </a:cubicBezTo>
                  <a:cubicBezTo>
                    <a:pt x="280" y="31"/>
                    <a:pt x="247" y="0"/>
                    <a:pt x="206" y="0"/>
                  </a:cubicBezTo>
                  <a:cubicBezTo>
                    <a:pt x="176" y="0"/>
                    <a:pt x="149" y="17"/>
                    <a:pt x="136" y="42"/>
                  </a:cubicBezTo>
                  <a:cubicBezTo>
                    <a:pt x="127" y="37"/>
                    <a:pt x="117" y="34"/>
                    <a:pt x="106" y="34"/>
                  </a:cubicBezTo>
                  <a:cubicBezTo>
                    <a:pt x="73" y="34"/>
                    <a:pt x="46" y="61"/>
                    <a:pt x="46" y="94"/>
                  </a:cubicBezTo>
                  <a:cubicBezTo>
                    <a:pt x="46" y="97"/>
                    <a:pt x="46" y="101"/>
                    <a:pt x="47" y="104"/>
                  </a:cubicBezTo>
                  <a:cubicBezTo>
                    <a:pt x="21" y="105"/>
                    <a:pt x="0" y="127"/>
                    <a:pt x="0" y="153"/>
                  </a:cubicBezTo>
                  <a:cubicBezTo>
                    <a:pt x="0" y="179"/>
                    <a:pt x="20" y="201"/>
                    <a:pt x="46" y="202"/>
                  </a:cubicBezTo>
                  <a:cubicBezTo>
                    <a:pt x="46" y="202"/>
                    <a:pt x="46" y="202"/>
                    <a:pt x="46" y="202"/>
                  </a:cubicBezTo>
                  <a:cubicBezTo>
                    <a:pt x="49" y="202"/>
                    <a:pt x="49" y="202"/>
                    <a:pt x="49" y="202"/>
                  </a:cubicBezTo>
                  <a:cubicBezTo>
                    <a:pt x="49" y="202"/>
                    <a:pt x="49" y="202"/>
                    <a:pt x="49" y="202"/>
                  </a:cubicBezTo>
                  <a:cubicBezTo>
                    <a:pt x="49" y="202"/>
                    <a:pt x="49" y="202"/>
                    <a:pt x="49" y="202"/>
                  </a:cubicBezTo>
                  <a:cubicBezTo>
                    <a:pt x="82" y="202"/>
                    <a:pt x="82" y="202"/>
                    <a:pt x="82" y="202"/>
                  </a:cubicBezTo>
                  <a:cubicBezTo>
                    <a:pt x="76" y="193"/>
                    <a:pt x="72" y="182"/>
                    <a:pt x="72" y="171"/>
                  </a:cubicBezTo>
                  <a:cubicBezTo>
                    <a:pt x="72" y="140"/>
                    <a:pt x="96" y="115"/>
                    <a:pt x="125" y="113"/>
                  </a:cubicBezTo>
                  <a:cubicBezTo>
                    <a:pt x="131" y="76"/>
                    <a:pt x="162" y="49"/>
                    <a:pt x="200" y="49"/>
                  </a:cubicBezTo>
                  <a:cubicBezTo>
                    <a:pt x="224" y="49"/>
                    <a:pt x="245" y="59"/>
                    <a:pt x="259" y="76"/>
                  </a:cubicBezTo>
                  <a:cubicBezTo>
                    <a:pt x="266" y="73"/>
                    <a:pt x="273" y="71"/>
                    <a:pt x="281" y="71"/>
                  </a:cubicBezTo>
                  <a:moveTo>
                    <a:pt x="336" y="139"/>
                  </a:moveTo>
                  <a:cubicBezTo>
                    <a:pt x="336" y="138"/>
                    <a:pt x="337" y="137"/>
                    <a:pt x="337" y="136"/>
                  </a:cubicBezTo>
                  <a:cubicBezTo>
                    <a:pt x="337" y="106"/>
                    <a:pt x="312" y="82"/>
                    <a:pt x="283" y="82"/>
                  </a:cubicBezTo>
                  <a:cubicBezTo>
                    <a:pt x="273" y="82"/>
                    <a:pt x="264" y="85"/>
                    <a:pt x="256" y="89"/>
                  </a:cubicBezTo>
                  <a:cubicBezTo>
                    <a:pt x="244" y="71"/>
                    <a:pt x="224" y="58"/>
                    <a:pt x="200" y="58"/>
                  </a:cubicBezTo>
                  <a:cubicBezTo>
                    <a:pt x="165" y="58"/>
                    <a:pt x="136" y="87"/>
                    <a:pt x="136" y="122"/>
                  </a:cubicBezTo>
                  <a:cubicBezTo>
                    <a:pt x="135" y="121"/>
                    <a:pt x="134" y="121"/>
                    <a:pt x="133" y="121"/>
                  </a:cubicBezTo>
                  <a:cubicBezTo>
                    <a:pt x="106" y="121"/>
                    <a:pt x="84" y="144"/>
                    <a:pt x="84" y="171"/>
                  </a:cubicBezTo>
                  <a:cubicBezTo>
                    <a:pt x="84" y="198"/>
                    <a:pt x="106" y="220"/>
                    <a:pt x="133" y="220"/>
                  </a:cubicBezTo>
                  <a:cubicBezTo>
                    <a:pt x="133" y="220"/>
                    <a:pt x="133" y="220"/>
                    <a:pt x="133" y="220"/>
                  </a:cubicBezTo>
                  <a:cubicBezTo>
                    <a:pt x="133" y="220"/>
                    <a:pt x="133" y="220"/>
                    <a:pt x="133" y="220"/>
                  </a:cubicBezTo>
                  <a:cubicBezTo>
                    <a:pt x="322" y="220"/>
                    <a:pt x="322" y="220"/>
                    <a:pt x="322" y="220"/>
                  </a:cubicBezTo>
                  <a:cubicBezTo>
                    <a:pt x="325" y="220"/>
                    <a:pt x="328" y="221"/>
                    <a:pt x="331" y="221"/>
                  </a:cubicBezTo>
                  <a:cubicBezTo>
                    <a:pt x="353" y="221"/>
                    <a:pt x="372" y="202"/>
                    <a:pt x="372" y="180"/>
                  </a:cubicBezTo>
                  <a:cubicBezTo>
                    <a:pt x="372" y="159"/>
                    <a:pt x="356" y="142"/>
                    <a:pt x="336" y="1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7" name="Oval 160"/>
            <p:cNvSpPr>
              <a:spLocks noChangeArrowheads="1"/>
            </p:cNvSpPr>
            <p:nvPr/>
          </p:nvSpPr>
          <p:spPr bwMode="auto">
            <a:xfrm>
              <a:off x="6741" y="2504"/>
              <a:ext cx="14"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8" name="Freeform 161"/>
            <p:cNvSpPr>
              <a:spLocks noEditPoints="1"/>
            </p:cNvSpPr>
            <p:nvPr/>
          </p:nvSpPr>
          <p:spPr bwMode="auto">
            <a:xfrm>
              <a:off x="6471" y="2535"/>
              <a:ext cx="987" cy="791"/>
            </a:xfrm>
            <a:custGeom>
              <a:avLst/>
              <a:gdLst>
                <a:gd name="T0" fmla="*/ 970 w 2098"/>
                <a:gd name="T1" fmla="*/ 548 h 1680"/>
                <a:gd name="T2" fmla="*/ 927 w 2098"/>
                <a:gd name="T3" fmla="*/ 511 h 1680"/>
                <a:gd name="T4" fmla="*/ 1111 w 2098"/>
                <a:gd name="T5" fmla="*/ 577 h 1680"/>
                <a:gd name="T6" fmla="*/ 1144 w 2098"/>
                <a:gd name="T7" fmla="*/ 524 h 1680"/>
                <a:gd name="T8" fmla="*/ 1111 w 2098"/>
                <a:gd name="T9" fmla="*/ 577 h 1680"/>
                <a:gd name="T10" fmla="*/ 1111 w 2098"/>
                <a:gd name="T11" fmla="*/ 718 h 1680"/>
                <a:gd name="T12" fmla="*/ 1148 w 2098"/>
                <a:gd name="T13" fmla="*/ 727 h 1680"/>
                <a:gd name="T14" fmla="*/ 1639 w 2098"/>
                <a:gd name="T15" fmla="*/ 202 h 1680"/>
                <a:gd name="T16" fmla="*/ 1552 w 2098"/>
                <a:gd name="T17" fmla="*/ 88 h 1680"/>
                <a:gd name="T18" fmla="*/ 1295 w 2098"/>
                <a:gd name="T19" fmla="*/ 362 h 1680"/>
                <a:gd name="T20" fmla="*/ 1631 w 2098"/>
                <a:gd name="T21" fmla="*/ 198 h 1680"/>
                <a:gd name="T22" fmla="*/ 1100 w 2098"/>
                <a:gd name="T23" fmla="*/ 972 h 1680"/>
                <a:gd name="T24" fmla="*/ 999 w 2098"/>
                <a:gd name="T25" fmla="*/ 972 h 1680"/>
                <a:gd name="T26" fmla="*/ 1100 w 2098"/>
                <a:gd name="T27" fmla="*/ 972 h 1680"/>
                <a:gd name="T28" fmla="*/ 1924 w 2098"/>
                <a:gd name="T29" fmla="*/ 773 h 1680"/>
                <a:gd name="T30" fmla="*/ 1479 w 2098"/>
                <a:gd name="T31" fmla="*/ 737 h 1680"/>
                <a:gd name="T32" fmla="*/ 2090 w 2098"/>
                <a:gd name="T33" fmla="*/ 845 h 1680"/>
                <a:gd name="T34" fmla="*/ 1119 w 2098"/>
                <a:gd name="T35" fmla="*/ 963 h 1680"/>
                <a:gd name="T36" fmla="*/ 1295 w 2098"/>
                <a:gd name="T37" fmla="*/ 730 h 1680"/>
                <a:gd name="T38" fmla="*/ 1331 w 2098"/>
                <a:gd name="T39" fmla="*/ 722 h 1680"/>
                <a:gd name="T40" fmla="*/ 1566 w 2098"/>
                <a:gd name="T41" fmla="*/ 329 h 1680"/>
                <a:gd name="T42" fmla="*/ 1143 w 2098"/>
                <a:gd name="T43" fmla="*/ 917 h 1680"/>
                <a:gd name="T44" fmla="*/ 1049 w 2098"/>
                <a:gd name="T45" fmla="*/ 963 h 1680"/>
                <a:gd name="T46" fmla="*/ 957 w 2098"/>
                <a:gd name="T47" fmla="*/ 918 h 1680"/>
                <a:gd name="T48" fmla="*/ 402 w 2098"/>
                <a:gd name="T49" fmla="*/ 31 h 1680"/>
                <a:gd name="T50" fmla="*/ 780 w 2098"/>
                <a:gd name="T51" fmla="*/ 346 h 1680"/>
                <a:gd name="T52" fmla="*/ 531 w 2098"/>
                <a:gd name="T53" fmla="*/ 90 h 1680"/>
                <a:gd name="T54" fmla="*/ 409 w 2098"/>
                <a:gd name="T55" fmla="*/ 123 h 1680"/>
                <a:gd name="T56" fmla="*/ 950 w 2098"/>
                <a:gd name="T57" fmla="*/ 924 h 1680"/>
                <a:gd name="T58" fmla="*/ 311 w 2098"/>
                <a:gd name="T59" fmla="*/ 927 h 1680"/>
                <a:gd name="T60" fmla="*/ 140 w 2098"/>
                <a:gd name="T61" fmla="*/ 789 h 1680"/>
                <a:gd name="T62" fmla="*/ 493 w 2098"/>
                <a:gd name="T63" fmla="*/ 736 h 1680"/>
                <a:gd name="T64" fmla="*/ 0 w 2098"/>
                <a:gd name="T65" fmla="*/ 845 h 1680"/>
                <a:gd name="T66" fmla="*/ 310 w 2098"/>
                <a:gd name="T67" fmla="*/ 936 h 1680"/>
                <a:gd name="T68" fmla="*/ 1045 w 2098"/>
                <a:gd name="T69" fmla="*/ 1042 h 1680"/>
                <a:gd name="T70" fmla="*/ 413 w 2098"/>
                <a:gd name="T71" fmla="*/ 1667 h 1680"/>
                <a:gd name="T72" fmla="*/ 577 w 2098"/>
                <a:gd name="T73" fmla="*/ 1290 h 1680"/>
                <a:gd name="T74" fmla="*/ 407 w 2098"/>
                <a:gd name="T75" fmla="*/ 1674 h 1680"/>
                <a:gd name="T76" fmla="*/ 501 w 2098"/>
                <a:gd name="T77" fmla="*/ 1639 h 1680"/>
                <a:gd name="T78" fmla="*/ 1051 w 2098"/>
                <a:gd name="T79" fmla="*/ 1049 h 1680"/>
                <a:gd name="T80" fmla="*/ 1609 w 2098"/>
                <a:gd name="T81" fmla="*/ 1631 h 1680"/>
                <a:gd name="T82" fmla="*/ 1702 w 2098"/>
                <a:gd name="T83" fmla="*/ 1666 h 1680"/>
                <a:gd name="T84" fmla="*/ 1464 w 2098"/>
                <a:gd name="T85" fmla="*/ 1204 h 1680"/>
                <a:gd name="T86" fmla="*/ 1444 w 2098"/>
                <a:gd name="T87" fmla="*/ 1474 h 1680"/>
                <a:gd name="T88" fmla="*/ 1112 w 2098"/>
                <a:gd name="T89" fmla="*/ 972 h 1680"/>
                <a:gd name="T90" fmla="*/ 2013 w 2098"/>
                <a:gd name="T91" fmla="*/ 897 h 1680"/>
                <a:gd name="T92" fmla="*/ 657 w 2098"/>
                <a:gd name="T93" fmla="*/ 735 h 1680"/>
                <a:gd name="T94" fmla="*/ 780 w 2098"/>
                <a:gd name="T95" fmla="*/ 722 h 1680"/>
                <a:gd name="T96" fmla="*/ 657 w 2098"/>
                <a:gd name="T97" fmla="*/ 735 h 1680"/>
                <a:gd name="T98" fmla="*/ 624 w 2098"/>
                <a:gd name="T99" fmla="*/ 1217 h 1680"/>
                <a:gd name="T100" fmla="*/ 687 w 2098"/>
                <a:gd name="T101" fmla="*/ 113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98" h="1680">
                  <a:moveTo>
                    <a:pt x="964" y="554"/>
                  </a:moveTo>
                  <a:cubicBezTo>
                    <a:pt x="970" y="548"/>
                    <a:pt x="970" y="548"/>
                    <a:pt x="970" y="548"/>
                  </a:cubicBezTo>
                  <a:cubicBezTo>
                    <a:pt x="958" y="533"/>
                    <a:pt x="940" y="512"/>
                    <a:pt x="927" y="498"/>
                  </a:cubicBezTo>
                  <a:cubicBezTo>
                    <a:pt x="927" y="511"/>
                    <a:pt x="927" y="511"/>
                    <a:pt x="927" y="511"/>
                  </a:cubicBezTo>
                  <a:cubicBezTo>
                    <a:pt x="940" y="526"/>
                    <a:pt x="951" y="539"/>
                    <a:pt x="964" y="554"/>
                  </a:cubicBezTo>
                  <a:moveTo>
                    <a:pt x="1111" y="577"/>
                  </a:moveTo>
                  <a:cubicBezTo>
                    <a:pt x="1125" y="561"/>
                    <a:pt x="1138" y="545"/>
                    <a:pt x="1151" y="529"/>
                  </a:cubicBezTo>
                  <a:cubicBezTo>
                    <a:pt x="1144" y="524"/>
                    <a:pt x="1144" y="524"/>
                    <a:pt x="1144" y="524"/>
                  </a:cubicBezTo>
                  <a:cubicBezTo>
                    <a:pt x="1131" y="539"/>
                    <a:pt x="1118" y="555"/>
                    <a:pt x="1105" y="571"/>
                  </a:cubicBezTo>
                  <a:lnTo>
                    <a:pt x="1111" y="577"/>
                  </a:lnTo>
                  <a:close/>
                  <a:moveTo>
                    <a:pt x="1148" y="718"/>
                  </a:moveTo>
                  <a:cubicBezTo>
                    <a:pt x="1137" y="718"/>
                    <a:pt x="1122" y="718"/>
                    <a:pt x="1111" y="718"/>
                  </a:cubicBezTo>
                  <a:cubicBezTo>
                    <a:pt x="1111" y="727"/>
                    <a:pt x="1111" y="727"/>
                    <a:pt x="1111" y="727"/>
                  </a:cubicBezTo>
                  <a:cubicBezTo>
                    <a:pt x="1122" y="727"/>
                    <a:pt x="1137" y="727"/>
                    <a:pt x="1148" y="727"/>
                  </a:cubicBezTo>
                  <a:lnTo>
                    <a:pt x="1148" y="718"/>
                  </a:lnTo>
                  <a:close/>
                  <a:moveTo>
                    <a:pt x="1639" y="202"/>
                  </a:moveTo>
                  <a:cubicBezTo>
                    <a:pt x="1696" y="93"/>
                    <a:pt x="1713" y="32"/>
                    <a:pt x="1692" y="15"/>
                  </a:cubicBezTo>
                  <a:cubicBezTo>
                    <a:pt x="1672" y="0"/>
                    <a:pt x="1627" y="24"/>
                    <a:pt x="1552" y="88"/>
                  </a:cubicBezTo>
                  <a:cubicBezTo>
                    <a:pt x="1484" y="147"/>
                    <a:pt x="1396" y="236"/>
                    <a:pt x="1295" y="349"/>
                  </a:cubicBezTo>
                  <a:cubicBezTo>
                    <a:pt x="1295" y="362"/>
                    <a:pt x="1295" y="362"/>
                    <a:pt x="1295" y="362"/>
                  </a:cubicBezTo>
                  <a:cubicBezTo>
                    <a:pt x="1542" y="86"/>
                    <a:pt x="1662" y="4"/>
                    <a:pt x="1686" y="22"/>
                  </a:cubicBezTo>
                  <a:cubicBezTo>
                    <a:pt x="1694" y="29"/>
                    <a:pt x="1705" y="58"/>
                    <a:pt x="1631" y="198"/>
                  </a:cubicBezTo>
                  <a:lnTo>
                    <a:pt x="1639" y="202"/>
                  </a:lnTo>
                  <a:close/>
                  <a:moveTo>
                    <a:pt x="1100" y="972"/>
                  </a:moveTo>
                  <a:cubicBezTo>
                    <a:pt x="1084" y="993"/>
                    <a:pt x="1067" y="1014"/>
                    <a:pt x="1051" y="1035"/>
                  </a:cubicBezTo>
                  <a:cubicBezTo>
                    <a:pt x="1034" y="1014"/>
                    <a:pt x="1017" y="993"/>
                    <a:pt x="999" y="972"/>
                  </a:cubicBezTo>
                  <a:cubicBezTo>
                    <a:pt x="1016" y="972"/>
                    <a:pt x="1033" y="972"/>
                    <a:pt x="1049" y="972"/>
                  </a:cubicBezTo>
                  <a:cubicBezTo>
                    <a:pt x="1066" y="972"/>
                    <a:pt x="1083" y="972"/>
                    <a:pt x="1100" y="972"/>
                  </a:cubicBezTo>
                  <a:moveTo>
                    <a:pt x="2098" y="845"/>
                  </a:moveTo>
                  <a:cubicBezTo>
                    <a:pt x="2098" y="818"/>
                    <a:pt x="2041" y="794"/>
                    <a:pt x="1924" y="773"/>
                  </a:cubicBezTo>
                  <a:cubicBezTo>
                    <a:pt x="1814" y="753"/>
                    <a:pt x="1659" y="738"/>
                    <a:pt x="1479" y="728"/>
                  </a:cubicBezTo>
                  <a:cubicBezTo>
                    <a:pt x="1479" y="737"/>
                    <a:pt x="1479" y="737"/>
                    <a:pt x="1479" y="737"/>
                  </a:cubicBezTo>
                  <a:cubicBezTo>
                    <a:pt x="1659" y="747"/>
                    <a:pt x="1813" y="762"/>
                    <a:pt x="1922" y="782"/>
                  </a:cubicBezTo>
                  <a:cubicBezTo>
                    <a:pt x="2073" y="809"/>
                    <a:pt x="2090" y="835"/>
                    <a:pt x="2090" y="845"/>
                  </a:cubicBezTo>
                  <a:cubicBezTo>
                    <a:pt x="2090" y="856"/>
                    <a:pt x="2068" y="894"/>
                    <a:pt x="1787" y="927"/>
                  </a:cubicBezTo>
                  <a:cubicBezTo>
                    <a:pt x="1607" y="949"/>
                    <a:pt x="1371" y="961"/>
                    <a:pt x="1119" y="963"/>
                  </a:cubicBezTo>
                  <a:cubicBezTo>
                    <a:pt x="1129" y="950"/>
                    <a:pt x="1140" y="936"/>
                    <a:pt x="1150" y="923"/>
                  </a:cubicBezTo>
                  <a:cubicBezTo>
                    <a:pt x="1200" y="858"/>
                    <a:pt x="1249" y="793"/>
                    <a:pt x="1295" y="730"/>
                  </a:cubicBezTo>
                  <a:cubicBezTo>
                    <a:pt x="1307" y="730"/>
                    <a:pt x="1319" y="730"/>
                    <a:pt x="1331" y="731"/>
                  </a:cubicBezTo>
                  <a:cubicBezTo>
                    <a:pt x="1331" y="722"/>
                    <a:pt x="1331" y="722"/>
                    <a:pt x="1331" y="722"/>
                  </a:cubicBezTo>
                  <a:cubicBezTo>
                    <a:pt x="1321" y="722"/>
                    <a:pt x="1312" y="721"/>
                    <a:pt x="1301" y="721"/>
                  </a:cubicBezTo>
                  <a:cubicBezTo>
                    <a:pt x="1405" y="579"/>
                    <a:pt x="1496" y="444"/>
                    <a:pt x="1566" y="329"/>
                  </a:cubicBezTo>
                  <a:cubicBezTo>
                    <a:pt x="1559" y="324"/>
                    <a:pt x="1559" y="324"/>
                    <a:pt x="1559" y="324"/>
                  </a:cubicBezTo>
                  <a:cubicBezTo>
                    <a:pt x="1457" y="492"/>
                    <a:pt x="1309" y="703"/>
                    <a:pt x="1143" y="917"/>
                  </a:cubicBezTo>
                  <a:cubicBezTo>
                    <a:pt x="1131" y="933"/>
                    <a:pt x="1119" y="948"/>
                    <a:pt x="1107" y="963"/>
                  </a:cubicBezTo>
                  <a:cubicBezTo>
                    <a:pt x="1088" y="963"/>
                    <a:pt x="1069" y="963"/>
                    <a:pt x="1049" y="963"/>
                  </a:cubicBezTo>
                  <a:cubicBezTo>
                    <a:pt x="1030" y="963"/>
                    <a:pt x="1011" y="963"/>
                    <a:pt x="992" y="963"/>
                  </a:cubicBezTo>
                  <a:cubicBezTo>
                    <a:pt x="980" y="948"/>
                    <a:pt x="969" y="933"/>
                    <a:pt x="957" y="918"/>
                  </a:cubicBezTo>
                  <a:cubicBezTo>
                    <a:pt x="783" y="700"/>
                    <a:pt x="630" y="487"/>
                    <a:pt x="525" y="318"/>
                  </a:cubicBezTo>
                  <a:cubicBezTo>
                    <a:pt x="377" y="79"/>
                    <a:pt x="393" y="38"/>
                    <a:pt x="402" y="31"/>
                  </a:cubicBezTo>
                  <a:cubicBezTo>
                    <a:pt x="416" y="19"/>
                    <a:pt x="461" y="44"/>
                    <a:pt x="526" y="97"/>
                  </a:cubicBezTo>
                  <a:cubicBezTo>
                    <a:pt x="592" y="152"/>
                    <a:pt x="681" y="240"/>
                    <a:pt x="780" y="346"/>
                  </a:cubicBezTo>
                  <a:cubicBezTo>
                    <a:pt x="780" y="333"/>
                    <a:pt x="780" y="333"/>
                    <a:pt x="780" y="333"/>
                  </a:cubicBezTo>
                  <a:cubicBezTo>
                    <a:pt x="681" y="226"/>
                    <a:pt x="598" y="145"/>
                    <a:pt x="531" y="90"/>
                  </a:cubicBezTo>
                  <a:cubicBezTo>
                    <a:pt x="459" y="31"/>
                    <a:pt x="415" y="9"/>
                    <a:pt x="396" y="24"/>
                  </a:cubicBezTo>
                  <a:cubicBezTo>
                    <a:pt x="381" y="36"/>
                    <a:pt x="386" y="68"/>
                    <a:pt x="409" y="123"/>
                  </a:cubicBezTo>
                  <a:cubicBezTo>
                    <a:pt x="430" y="173"/>
                    <a:pt x="467" y="241"/>
                    <a:pt x="518" y="323"/>
                  </a:cubicBezTo>
                  <a:cubicBezTo>
                    <a:pt x="623" y="492"/>
                    <a:pt x="776" y="705"/>
                    <a:pt x="950" y="924"/>
                  </a:cubicBezTo>
                  <a:cubicBezTo>
                    <a:pt x="960" y="937"/>
                    <a:pt x="971" y="950"/>
                    <a:pt x="981" y="963"/>
                  </a:cubicBezTo>
                  <a:cubicBezTo>
                    <a:pt x="728" y="961"/>
                    <a:pt x="492" y="949"/>
                    <a:pt x="311" y="927"/>
                  </a:cubicBezTo>
                  <a:cubicBezTo>
                    <a:pt x="31" y="894"/>
                    <a:pt x="9" y="856"/>
                    <a:pt x="9" y="845"/>
                  </a:cubicBezTo>
                  <a:cubicBezTo>
                    <a:pt x="9" y="836"/>
                    <a:pt x="22" y="813"/>
                    <a:pt x="140" y="789"/>
                  </a:cubicBezTo>
                  <a:cubicBezTo>
                    <a:pt x="226" y="771"/>
                    <a:pt x="350" y="756"/>
                    <a:pt x="497" y="745"/>
                  </a:cubicBezTo>
                  <a:cubicBezTo>
                    <a:pt x="493" y="736"/>
                    <a:pt x="493" y="736"/>
                    <a:pt x="493" y="736"/>
                  </a:cubicBezTo>
                  <a:cubicBezTo>
                    <a:pt x="346" y="747"/>
                    <a:pt x="224" y="762"/>
                    <a:pt x="139" y="780"/>
                  </a:cubicBezTo>
                  <a:cubicBezTo>
                    <a:pt x="46" y="799"/>
                    <a:pt x="0" y="821"/>
                    <a:pt x="0" y="845"/>
                  </a:cubicBezTo>
                  <a:cubicBezTo>
                    <a:pt x="0" y="864"/>
                    <a:pt x="28" y="881"/>
                    <a:pt x="86" y="897"/>
                  </a:cubicBezTo>
                  <a:cubicBezTo>
                    <a:pt x="139" y="911"/>
                    <a:pt x="214" y="925"/>
                    <a:pt x="310" y="936"/>
                  </a:cubicBezTo>
                  <a:cubicBezTo>
                    <a:pt x="493" y="957"/>
                    <a:pt x="732" y="970"/>
                    <a:pt x="988" y="972"/>
                  </a:cubicBezTo>
                  <a:cubicBezTo>
                    <a:pt x="1007" y="995"/>
                    <a:pt x="1026" y="1019"/>
                    <a:pt x="1045" y="1042"/>
                  </a:cubicBezTo>
                  <a:cubicBezTo>
                    <a:pt x="908" y="1212"/>
                    <a:pt x="775" y="1364"/>
                    <a:pt x="663" y="1479"/>
                  </a:cubicBezTo>
                  <a:cubicBezTo>
                    <a:pt x="465" y="1680"/>
                    <a:pt x="421" y="1674"/>
                    <a:pt x="413" y="1667"/>
                  </a:cubicBezTo>
                  <a:cubicBezTo>
                    <a:pt x="391" y="1651"/>
                    <a:pt x="425" y="1544"/>
                    <a:pt x="584" y="1294"/>
                  </a:cubicBezTo>
                  <a:cubicBezTo>
                    <a:pt x="577" y="1290"/>
                    <a:pt x="577" y="1290"/>
                    <a:pt x="577" y="1290"/>
                  </a:cubicBezTo>
                  <a:cubicBezTo>
                    <a:pt x="510" y="1394"/>
                    <a:pt x="459" y="1483"/>
                    <a:pt x="430" y="1548"/>
                  </a:cubicBezTo>
                  <a:cubicBezTo>
                    <a:pt x="397" y="1620"/>
                    <a:pt x="390" y="1661"/>
                    <a:pt x="407" y="1674"/>
                  </a:cubicBezTo>
                  <a:cubicBezTo>
                    <a:pt x="411" y="1677"/>
                    <a:pt x="416" y="1679"/>
                    <a:pt x="421" y="1679"/>
                  </a:cubicBezTo>
                  <a:cubicBezTo>
                    <a:pt x="439" y="1679"/>
                    <a:pt x="465" y="1665"/>
                    <a:pt x="501" y="1639"/>
                  </a:cubicBezTo>
                  <a:cubicBezTo>
                    <a:pt x="545" y="1606"/>
                    <a:pt x="601" y="1554"/>
                    <a:pt x="669" y="1485"/>
                  </a:cubicBezTo>
                  <a:cubicBezTo>
                    <a:pt x="781" y="1371"/>
                    <a:pt x="914" y="1219"/>
                    <a:pt x="1051" y="1049"/>
                  </a:cubicBezTo>
                  <a:cubicBezTo>
                    <a:pt x="1190" y="1217"/>
                    <a:pt x="1324" y="1367"/>
                    <a:pt x="1438" y="1480"/>
                  </a:cubicBezTo>
                  <a:cubicBezTo>
                    <a:pt x="1507" y="1548"/>
                    <a:pt x="1564" y="1599"/>
                    <a:pt x="1609" y="1631"/>
                  </a:cubicBezTo>
                  <a:cubicBezTo>
                    <a:pt x="1644" y="1657"/>
                    <a:pt x="1671" y="1670"/>
                    <a:pt x="1688" y="1670"/>
                  </a:cubicBezTo>
                  <a:cubicBezTo>
                    <a:pt x="1694" y="1670"/>
                    <a:pt x="1699" y="1669"/>
                    <a:pt x="1702" y="1666"/>
                  </a:cubicBezTo>
                  <a:cubicBezTo>
                    <a:pt x="1754" y="1624"/>
                    <a:pt x="1554" y="1319"/>
                    <a:pt x="1466" y="1192"/>
                  </a:cubicBezTo>
                  <a:cubicBezTo>
                    <a:pt x="1464" y="1204"/>
                    <a:pt x="1464" y="1204"/>
                    <a:pt x="1464" y="1204"/>
                  </a:cubicBezTo>
                  <a:cubicBezTo>
                    <a:pt x="1675" y="1511"/>
                    <a:pt x="1721" y="1640"/>
                    <a:pt x="1697" y="1659"/>
                  </a:cubicBezTo>
                  <a:cubicBezTo>
                    <a:pt x="1688" y="1666"/>
                    <a:pt x="1645" y="1673"/>
                    <a:pt x="1444" y="1474"/>
                  </a:cubicBezTo>
                  <a:cubicBezTo>
                    <a:pt x="1330" y="1361"/>
                    <a:pt x="1196" y="1210"/>
                    <a:pt x="1056" y="1042"/>
                  </a:cubicBezTo>
                  <a:cubicBezTo>
                    <a:pt x="1075" y="1019"/>
                    <a:pt x="1093" y="995"/>
                    <a:pt x="1112" y="972"/>
                  </a:cubicBezTo>
                  <a:cubicBezTo>
                    <a:pt x="1367" y="970"/>
                    <a:pt x="1606" y="957"/>
                    <a:pt x="1788" y="936"/>
                  </a:cubicBezTo>
                  <a:cubicBezTo>
                    <a:pt x="1885" y="925"/>
                    <a:pt x="1960" y="911"/>
                    <a:pt x="2013" y="897"/>
                  </a:cubicBezTo>
                  <a:cubicBezTo>
                    <a:pt x="2070" y="881"/>
                    <a:pt x="2098" y="864"/>
                    <a:pt x="2098" y="845"/>
                  </a:cubicBezTo>
                  <a:moveTo>
                    <a:pt x="657" y="735"/>
                  </a:moveTo>
                  <a:cubicBezTo>
                    <a:pt x="697" y="733"/>
                    <a:pt x="738" y="732"/>
                    <a:pt x="780" y="730"/>
                  </a:cubicBezTo>
                  <a:cubicBezTo>
                    <a:pt x="780" y="722"/>
                    <a:pt x="780" y="722"/>
                    <a:pt x="780" y="722"/>
                  </a:cubicBezTo>
                  <a:cubicBezTo>
                    <a:pt x="738" y="723"/>
                    <a:pt x="693" y="725"/>
                    <a:pt x="653" y="727"/>
                  </a:cubicBezTo>
                  <a:lnTo>
                    <a:pt x="657" y="735"/>
                  </a:lnTo>
                  <a:close/>
                  <a:moveTo>
                    <a:pt x="682" y="1131"/>
                  </a:moveTo>
                  <a:cubicBezTo>
                    <a:pt x="662" y="1160"/>
                    <a:pt x="643" y="1189"/>
                    <a:pt x="624" y="1217"/>
                  </a:cubicBezTo>
                  <a:cubicBezTo>
                    <a:pt x="631" y="1222"/>
                    <a:pt x="631" y="1222"/>
                    <a:pt x="631" y="1222"/>
                  </a:cubicBezTo>
                  <a:cubicBezTo>
                    <a:pt x="649" y="1195"/>
                    <a:pt x="668" y="1167"/>
                    <a:pt x="687" y="1139"/>
                  </a:cubicBezTo>
                  <a:cubicBezTo>
                    <a:pt x="685" y="1135"/>
                    <a:pt x="682" y="1131"/>
                    <a:pt x="682" y="1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9" name="Freeform 162"/>
            <p:cNvSpPr>
              <a:spLocks/>
            </p:cNvSpPr>
            <p:nvPr/>
          </p:nvSpPr>
          <p:spPr bwMode="auto">
            <a:xfrm>
              <a:off x="6668" y="2642"/>
              <a:ext cx="59" cy="62"/>
            </a:xfrm>
            <a:custGeom>
              <a:avLst/>
              <a:gdLst>
                <a:gd name="T0" fmla="*/ 125 w 125"/>
                <a:gd name="T1" fmla="*/ 131 h 131"/>
                <a:gd name="T2" fmla="*/ 0 w 125"/>
                <a:gd name="T3" fmla="*/ 90 h 131"/>
                <a:gd name="T4" fmla="*/ 125 w 125"/>
                <a:gd name="T5" fmla="*/ 0 h 131"/>
                <a:gd name="T6" fmla="*/ 125 w 125"/>
                <a:gd name="T7" fmla="*/ 131 h 131"/>
              </a:gdLst>
              <a:ahLst/>
              <a:cxnLst>
                <a:cxn ang="0">
                  <a:pos x="T0" y="T1"/>
                </a:cxn>
                <a:cxn ang="0">
                  <a:pos x="T2" y="T3"/>
                </a:cxn>
                <a:cxn ang="0">
                  <a:pos x="T4" y="T5"/>
                </a:cxn>
                <a:cxn ang="0">
                  <a:pos x="T6" y="T7"/>
                </a:cxn>
              </a:cxnLst>
              <a:rect l="0" t="0" r="r" b="b"/>
              <a:pathLst>
                <a:path w="125" h="131">
                  <a:moveTo>
                    <a:pt x="125" y="131"/>
                  </a:moveTo>
                  <a:cubicBezTo>
                    <a:pt x="0" y="90"/>
                    <a:pt x="0" y="90"/>
                    <a:pt x="0" y="90"/>
                  </a:cubicBezTo>
                  <a:cubicBezTo>
                    <a:pt x="18" y="35"/>
                    <a:pt x="67" y="0"/>
                    <a:pt x="125" y="0"/>
                  </a:cubicBezTo>
                  <a:lnTo>
                    <a:pt x="125" y="1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0" name="Freeform 163"/>
            <p:cNvSpPr>
              <a:spLocks/>
            </p:cNvSpPr>
            <p:nvPr/>
          </p:nvSpPr>
          <p:spPr bwMode="auto">
            <a:xfrm>
              <a:off x="6664" y="2684"/>
              <a:ext cx="63" cy="39"/>
            </a:xfrm>
            <a:custGeom>
              <a:avLst/>
              <a:gdLst>
                <a:gd name="T0" fmla="*/ 134 w 134"/>
                <a:gd name="T1" fmla="*/ 41 h 82"/>
                <a:gd name="T2" fmla="*/ 9 w 134"/>
                <a:gd name="T3" fmla="*/ 82 h 82"/>
                <a:gd name="T4" fmla="*/ 9 w 134"/>
                <a:gd name="T5" fmla="*/ 0 h 82"/>
                <a:gd name="T6" fmla="*/ 134 w 134"/>
                <a:gd name="T7" fmla="*/ 41 h 82"/>
              </a:gdLst>
              <a:ahLst/>
              <a:cxnLst>
                <a:cxn ang="0">
                  <a:pos x="T0" y="T1"/>
                </a:cxn>
                <a:cxn ang="0">
                  <a:pos x="T2" y="T3"/>
                </a:cxn>
                <a:cxn ang="0">
                  <a:pos x="T4" y="T5"/>
                </a:cxn>
                <a:cxn ang="0">
                  <a:pos x="T6" y="T7"/>
                </a:cxn>
              </a:cxnLst>
              <a:rect l="0" t="0" r="r" b="b"/>
              <a:pathLst>
                <a:path w="134" h="82">
                  <a:moveTo>
                    <a:pt x="134" y="41"/>
                  </a:moveTo>
                  <a:cubicBezTo>
                    <a:pt x="9" y="82"/>
                    <a:pt x="9" y="82"/>
                    <a:pt x="9" y="82"/>
                  </a:cubicBezTo>
                  <a:cubicBezTo>
                    <a:pt x="0" y="54"/>
                    <a:pt x="0" y="28"/>
                    <a:pt x="9" y="0"/>
                  </a:cubicBezTo>
                  <a:lnTo>
                    <a:pt x="134" y="4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1" name="Freeform 164"/>
            <p:cNvSpPr>
              <a:spLocks/>
            </p:cNvSpPr>
            <p:nvPr/>
          </p:nvSpPr>
          <p:spPr bwMode="auto">
            <a:xfrm>
              <a:off x="6668" y="2704"/>
              <a:ext cx="59" cy="50"/>
            </a:xfrm>
            <a:custGeom>
              <a:avLst/>
              <a:gdLst>
                <a:gd name="T0" fmla="*/ 125 w 125"/>
                <a:gd name="T1" fmla="*/ 0 h 106"/>
                <a:gd name="T2" fmla="*/ 48 w 125"/>
                <a:gd name="T3" fmla="*/ 106 h 106"/>
                <a:gd name="T4" fmla="*/ 0 w 125"/>
                <a:gd name="T5" fmla="*/ 41 h 106"/>
                <a:gd name="T6" fmla="*/ 125 w 125"/>
                <a:gd name="T7" fmla="*/ 0 h 106"/>
              </a:gdLst>
              <a:ahLst/>
              <a:cxnLst>
                <a:cxn ang="0">
                  <a:pos x="T0" y="T1"/>
                </a:cxn>
                <a:cxn ang="0">
                  <a:pos x="T2" y="T3"/>
                </a:cxn>
                <a:cxn ang="0">
                  <a:pos x="T4" y="T5"/>
                </a:cxn>
                <a:cxn ang="0">
                  <a:pos x="T6" y="T7"/>
                </a:cxn>
              </a:cxnLst>
              <a:rect l="0" t="0" r="r" b="b"/>
              <a:pathLst>
                <a:path w="125" h="106">
                  <a:moveTo>
                    <a:pt x="125" y="0"/>
                  </a:moveTo>
                  <a:cubicBezTo>
                    <a:pt x="48" y="106"/>
                    <a:pt x="48" y="106"/>
                    <a:pt x="48" y="106"/>
                  </a:cubicBezTo>
                  <a:cubicBezTo>
                    <a:pt x="25" y="89"/>
                    <a:pt x="9" y="68"/>
                    <a:pt x="0" y="41"/>
                  </a:cubicBezTo>
                  <a:lnTo>
                    <a:pt x="125" y="0"/>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2" name="Freeform 165"/>
            <p:cNvSpPr>
              <a:spLocks/>
            </p:cNvSpPr>
            <p:nvPr/>
          </p:nvSpPr>
          <p:spPr bwMode="auto">
            <a:xfrm>
              <a:off x="6691" y="2704"/>
              <a:ext cx="95" cy="69"/>
            </a:xfrm>
            <a:custGeom>
              <a:avLst/>
              <a:gdLst>
                <a:gd name="T0" fmla="*/ 77 w 202"/>
                <a:gd name="T1" fmla="*/ 0 h 147"/>
                <a:gd name="T2" fmla="*/ 202 w 202"/>
                <a:gd name="T3" fmla="*/ 41 h 147"/>
                <a:gd name="T4" fmla="*/ 37 w 202"/>
                <a:gd name="T5" fmla="*/ 125 h 147"/>
                <a:gd name="T6" fmla="*/ 0 w 202"/>
                <a:gd name="T7" fmla="*/ 106 h 147"/>
                <a:gd name="T8" fmla="*/ 77 w 202"/>
                <a:gd name="T9" fmla="*/ 0 h 147"/>
              </a:gdLst>
              <a:ahLst/>
              <a:cxnLst>
                <a:cxn ang="0">
                  <a:pos x="T0" y="T1"/>
                </a:cxn>
                <a:cxn ang="0">
                  <a:pos x="T2" y="T3"/>
                </a:cxn>
                <a:cxn ang="0">
                  <a:pos x="T4" y="T5"/>
                </a:cxn>
                <a:cxn ang="0">
                  <a:pos x="T6" y="T7"/>
                </a:cxn>
                <a:cxn ang="0">
                  <a:pos x="T8" y="T9"/>
                </a:cxn>
              </a:cxnLst>
              <a:rect l="0" t="0" r="r" b="b"/>
              <a:pathLst>
                <a:path w="202" h="147">
                  <a:moveTo>
                    <a:pt x="77" y="0"/>
                  </a:moveTo>
                  <a:cubicBezTo>
                    <a:pt x="202" y="41"/>
                    <a:pt x="202" y="41"/>
                    <a:pt x="202" y="41"/>
                  </a:cubicBezTo>
                  <a:cubicBezTo>
                    <a:pt x="180" y="110"/>
                    <a:pt x="106" y="147"/>
                    <a:pt x="37" y="125"/>
                  </a:cubicBezTo>
                  <a:cubicBezTo>
                    <a:pt x="23" y="120"/>
                    <a:pt x="12" y="115"/>
                    <a:pt x="0" y="106"/>
                  </a:cubicBezTo>
                  <a:lnTo>
                    <a:pt x="7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3" name="Freeform 166"/>
            <p:cNvSpPr>
              <a:spLocks/>
            </p:cNvSpPr>
            <p:nvPr/>
          </p:nvSpPr>
          <p:spPr bwMode="auto">
            <a:xfrm>
              <a:off x="6727" y="2642"/>
              <a:ext cx="62" cy="81"/>
            </a:xfrm>
            <a:custGeom>
              <a:avLst/>
              <a:gdLst>
                <a:gd name="T0" fmla="*/ 0 w 131"/>
                <a:gd name="T1" fmla="*/ 131 h 172"/>
                <a:gd name="T2" fmla="*/ 0 w 131"/>
                <a:gd name="T3" fmla="*/ 0 h 172"/>
                <a:gd name="T4" fmla="*/ 131 w 131"/>
                <a:gd name="T5" fmla="*/ 131 h 172"/>
                <a:gd name="T6" fmla="*/ 125 w 131"/>
                <a:gd name="T7" fmla="*/ 172 h 172"/>
                <a:gd name="T8" fmla="*/ 0 w 131"/>
                <a:gd name="T9" fmla="*/ 131 h 172"/>
              </a:gdLst>
              <a:ahLst/>
              <a:cxnLst>
                <a:cxn ang="0">
                  <a:pos x="T0" y="T1"/>
                </a:cxn>
                <a:cxn ang="0">
                  <a:pos x="T2" y="T3"/>
                </a:cxn>
                <a:cxn ang="0">
                  <a:pos x="T4" y="T5"/>
                </a:cxn>
                <a:cxn ang="0">
                  <a:pos x="T6" y="T7"/>
                </a:cxn>
                <a:cxn ang="0">
                  <a:pos x="T8" y="T9"/>
                </a:cxn>
              </a:cxnLst>
              <a:rect l="0" t="0" r="r" b="b"/>
              <a:pathLst>
                <a:path w="131" h="172">
                  <a:moveTo>
                    <a:pt x="0" y="131"/>
                  </a:moveTo>
                  <a:cubicBezTo>
                    <a:pt x="0" y="0"/>
                    <a:pt x="0" y="0"/>
                    <a:pt x="0" y="0"/>
                  </a:cubicBezTo>
                  <a:cubicBezTo>
                    <a:pt x="73" y="0"/>
                    <a:pt x="131" y="59"/>
                    <a:pt x="131" y="131"/>
                  </a:cubicBezTo>
                  <a:cubicBezTo>
                    <a:pt x="131" y="146"/>
                    <a:pt x="129" y="158"/>
                    <a:pt x="125" y="172"/>
                  </a:cubicBezTo>
                  <a:lnTo>
                    <a:pt x="0" y="131"/>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4" name="Freeform 167"/>
            <p:cNvSpPr>
              <a:spLocks noEditPoints="1"/>
            </p:cNvSpPr>
            <p:nvPr/>
          </p:nvSpPr>
          <p:spPr bwMode="auto">
            <a:xfrm>
              <a:off x="7233" y="2833"/>
              <a:ext cx="137" cy="100"/>
            </a:xfrm>
            <a:custGeom>
              <a:avLst/>
              <a:gdLst>
                <a:gd name="T0" fmla="*/ 141 w 292"/>
                <a:gd name="T1" fmla="*/ 22 h 214"/>
                <a:gd name="T2" fmla="*/ 267 w 292"/>
                <a:gd name="T3" fmla="*/ 22 h 214"/>
                <a:gd name="T4" fmla="*/ 256 w 292"/>
                <a:gd name="T5" fmla="*/ 3 h 214"/>
                <a:gd name="T6" fmla="*/ 251 w 292"/>
                <a:gd name="T7" fmla="*/ 0 h 214"/>
                <a:gd name="T8" fmla="*/ 158 w 292"/>
                <a:gd name="T9" fmla="*/ 0 h 214"/>
                <a:gd name="T10" fmla="*/ 153 w 292"/>
                <a:gd name="T11" fmla="*/ 3 h 214"/>
                <a:gd name="T12" fmla="*/ 141 w 292"/>
                <a:gd name="T13" fmla="*/ 22 h 214"/>
                <a:gd name="T14" fmla="*/ 292 w 292"/>
                <a:gd name="T15" fmla="*/ 38 h 214"/>
                <a:gd name="T16" fmla="*/ 285 w 292"/>
                <a:gd name="T17" fmla="*/ 31 h 214"/>
                <a:gd name="T18" fmla="*/ 232 w 292"/>
                <a:gd name="T19" fmla="*/ 31 h 214"/>
                <a:gd name="T20" fmla="*/ 61 w 292"/>
                <a:gd name="T21" fmla="*/ 31 h 214"/>
                <a:gd name="T22" fmla="*/ 8 w 292"/>
                <a:gd name="T23" fmla="*/ 31 h 214"/>
                <a:gd name="T24" fmla="*/ 0 w 292"/>
                <a:gd name="T25" fmla="*/ 38 h 214"/>
                <a:gd name="T26" fmla="*/ 0 w 292"/>
                <a:gd name="T27" fmla="*/ 207 h 214"/>
                <a:gd name="T28" fmla="*/ 8 w 292"/>
                <a:gd name="T29" fmla="*/ 214 h 214"/>
                <a:gd name="T30" fmla="*/ 61 w 292"/>
                <a:gd name="T31" fmla="*/ 214 h 214"/>
                <a:gd name="T32" fmla="*/ 232 w 292"/>
                <a:gd name="T33" fmla="*/ 214 h 214"/>
                <a:gd name="T34" fmla="*/ 285 w 292"/>
                <a:gd name="T35" fmla="*/ 214 h 214"/>
                <a:gd name="T36" fmla="*/ 292 w 292"/>
                <a:gd name="T37" fmla="*/ 207 h 214"/>
                <a:gd name="T38" fmla="*/ 292 w 292"/>
                <a:gd name="T39" fmla="*/ 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2" h="214">
                  <a:moveTo>
                    <a:pt x="141" y="22"/>
                  </a:moveTo>
                  <a:cubicBezTo>
                    <a:pt x="267" y="22"/>
                    <a:pt x="267" y="22"/>
                    <a:pt x="267" y="22"/>
                  </a:cubicBezTo>
                  <a:cubicBezTo>
                    <a:pt x="256" y="3"/>
                    <a:pt x="256" y="3"/>
                    <a:pt x="256" y="3"/>
                  </a:cubicBezTo>
                  <a:cubicBezTo>
                    <a:pt x="256" y="3"/>
                    <a:pt x="254" y="0"/>
                    <a:pt x="251" y="0"/>
                  </a:cubicBezTo>
                  <a:cubicBezTo>
                    <a:pt x="158" y="0"/>
                    <a:pt x="158" y="0"/>
                    <a:pt x="158" y="0"/>
                  </a:cubicBezTo>
                  <a:cubicBezTo>
                    <a:pt x="158" y="0"/>
                    <a:pt x="154" y="0"/>
                    <a:pt x="153" y="3"/>
                  </a:cubicBezTo>
                  <a:lnTo>
                    <a:pt x="141" y="22"/>
                  </a:lnTo>
                  <a:close/>
                  <a:moveTo>
                    <a:pt x="292" y="38"/>
                  </a:moveTo>
                  <a:cubicBezTo>
                    <a:pt x="292" y="38"/>
                    <a:pt x="292" y="31"/>
                    <a:pt x="285" y="31"/>
                  </a:cubicBezTo>
                  <a:cubicBezTo>
                    <a:pt x="232" y="31"/>
                    <a:pt x="232" y="31"/>
                    <a:pt x="232" y="31"/>
                  </a:cubicBezTo>
                  <a:cubicBezTo>
                    <a:pt x="61" y="31"/>
                    <a:pt x="61" y="31"/>
                    <a:pt x="61" y="31"/>
                  </a:cubicBezTo>
                  <a:cubicBezTo>
                    <a:pt x="8" y="31"/>
                    <a:pt x="8" y="31"/>
                    <a:pt x="8" y="31"/>
                  </a:cubicBezTo>
                  <a:cubicBezTo>
                    <a:pt x="0" y="31"/>
                    <a:pt x="0" y="38"/>
                    <a:pt x="0" y="38"/>
                  </a:cubicBezTo>
                  <a:cubicBezTo>
                    <a:pt x="0" y="207"/>
                    <a:pt x="0" y="207"/>
                    <a:pt x="0" y="207"/>
                  </a:cubicBezTo>
                  <a:cubicBezTo>
                    <a:pt x="0" y="214"/>
                    <a:pt x="8" y="214"/>
                    <a:pt x="8" y="214"/>
                  </a:cubicBezTo>
                  <a:cubicBezTo>
                    <a:pt x="61" y="214"/>
                    <a:pt x="61" y="214"/>
                    <a:pt x="61" y="214"/>
                  </a:cubicBezTo>
                  <a:cubicBezTo>
                    <a:pt x="232" y="214"/>
                    <a:pt x="232" y="214"/>
                    <a:pt x="232" y="214"/>
                  </a:cubicBezTo>
                  <a:cubicBezTo>
                    <a:pt x="285" y="214"/>
                    <a:pt x="285" y="214"/>
                    <a:pt x="285" y="214"/>
                  </a:cubicBezTo>
                  <a:cubicBezTo>
                    <a:pt x="285" y="214"/>
                    <a:pt x="292" y="214"/>
                    <a:pt x="292" y="207"/>
                  </a:cubicBezTo>
                  <a:lnTo>
                    <a:pt x="292" y="3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5" name="Oval 168"/>
            <p:cNvSpPr>
              <a:spLocks noChangeArrowheads="1"/>
            </p:cNvSpPr>
            <p:nvPr/>
          </p:nvSpPr>
          <p:spPr bwMode="auto">
            <a:xfrm>
              <a:off x="7167" y="3128"/>
              <a:ext cx="123" cy="12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6" name="Freeform 169"/>
            <p:cNvSpPr>
              <a:spLocks/>
            </p:cNvSpPr>
            <p:nvPr/>
          </p:nvSpPr>
          <p:spPr bwMode="auto">
            <a:xfrm>
              <a:off x="7217" y="3164"/>
              <a:ext cx="35" cy="51"/>
            </a:xfrm>
            <a:custGeom>
              <a:avLst/>
              <a:gdLst>
                <a:gd name="T0" fmla="*/ 0 w 35"/>
                <a:gd name="T1" fmla="*/ 51 h 51"/>
                <a:gd name="T2" fmla="*/ 35 w 35"/>
                <a:gd name="T3" fmla="*/ 25 h 51"/>
                <a:gd name="T4" fmla="*/ 0 w 35"/>
                <a:gd name="T5" fmla="*/ 0 h 51"/>
                <a:gd name="T6" fmla="*/ 0 w 35"/>
                <a:gd name="T7" fmla="*/ 51 h 51"/>
              </a:gdLst>
              <a:ahLst/>
              <a:cxnLst>
                <a:cxn ang="0">
                  <a:pos x="T0" y="T1"/>
                </a:cxn>
                <a:cxn ang="0">
                  <a:pos x="T2" y="T3"/>
                </a:cxn>
                <a:cxn ang="0">
                  <a:pos x="T4" y="T5"/>
                </a:cxn>
                <a:cxn ang="0">
                  <a:pos x="T6" y="T7"/>
                </a:cxn>
              </a:cxnLst>
              <a:rect l="0" t="0" r="r" b="b"/>
              <a:pathLst>
                <a:path w="35" h="51">
                  <a:moveTo>
                    <a:pt x="0" y="51"/>
                  </a:moveTo>
                  <a:lnTo>
                    <a:pt x="35" y="25"/>
                  </a:lnTo>
                  <a:lnTo>
                    <a:pt x="0" y="0"/>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7" name="Freeform 170"/>
            <p:cNvSpPr>
              <a:spLocks noEditPoints="1"/>
            </p:cNvSpPr>
            <p:nvPr/>
          </p:nvSpPr>
          <p:spPr bwMode="auto">
            <a:xfrm>
              <a:off x="6651" y="3094"/>
              <a:ext cx="126" cy="97"/>
            </a:xfrm>
            <a:custGeom>
              <a:avLst/>
              <a:gdLst>
                <a:gd name="T0" fmla="*/ 63 w 126"/>
                <a:gd name="T1" fmla="*/ 54 h 97"/>
                <a:gd name="T2" fmla="*/ 126 w 126"/>
                <a:gd name="T3" fmla="*/ 9 h 97"/>
                <a:gd name="T4" fmla="*/ 126 w 126"/>
                <a:gd name="T5" fmla="*/ 0 h 97"/>
                <a:gd name="T6" fmla="*/ 63 w 126"/>
                <a:gd name="T7" fmla="*/ 0 h 97"/>
                <a:gd name="T8" fmla="*/ 0 w 126"/>
                <a:gd name="T9" fmla="*/ 0 h 97"/>
                <a:gd name="T10" fmla="*/ 0 w 126"/>
                <a:gd name="T11" fmla="*/ 9 h 97"/>
                <a:gd name="T12" fmla="*/ 63 w 126"/>
                <a:gd name="T13" fmla="*/ 54 h 97"/>
                <a:gd name="T14" fmla="*/ 126 w 126"/>
                <a:gd name="T15" fmla="*/ 97 h 97"/>
                <a:gd name="T16" fmla="*/ 126 w 126"/>
                <a:gd name="T17" fmla="*/ 18 h 97"/>
                <a:gd name="T18" fmla="*/ 63 w 126"/>
                <a:gd name="T19" fmla="*/ 64 h 97"/>
                <a:gd name="T20" fmla="*/ 0 w 126"/>
                <a:gd name="T21" fmla="*/ 18 h 97"/>
                <a:gd name="T22" fmla="*/ 0 w 126"/>
                <a:gd name="T23" fmla="*/ 97 h 97"/>
                <a:gd name="T24" fmla="*/ 63 w 126"/>
                <a:gd name="T25" fmla="*/ 97 h 97"/>
                <a:gd name="T26" fmla="*/ 126 w 126"/>
                <a:gd name="T2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97">
                  <a:moveTo>
                    <a:pt x="63" y="54"/>
                  </a:moveTo>
                  <a:lnTo>
                    <a:pt x="126" y="9"/>
                  </a:lnTo>
                  <a:lnTo>
                    <a:pt x="126" y="0"/>
                  </a:lnTo>
                  <a:lnTo>
                    <a:pt x="63" y="0"/>
                  </a:lnTo>
                  <a:lnTo>
                    <a:pt x="0" y="0"/>
                  </a:lnTo>
                  <a:lnTo>
                    <a:pt x="0" y="9"/>
                  </a:lnTo>
                  <a:lnTo>
                    <a:pt x="63" y="54"/>
                  </a:lnTo>
                  <a:close/>
                  <a:moveTo>
                    <a:pt x="126" y="97"/>
                  </a:moveTo>
                  <a:lnTo>
                    <a:pt x="126" y="18"/>
                  </a:lnTo>
                  <a:lnTo>
                    <a:pt x="63" y="64"/>
                  </a:lnTo>
                  <a:lnTo>
                    <a:pt x="0" y="18"/>
                  </a:lnTo>
                  <a:lnTo>
                    <a:pt x="0" y="97"/>
                  </a:lnTo>
                  <a:lnTo>
                    <a:pt x="63" y="97"/>
                  </a:lnTo>
                  <a:lnTo>
                    <a:pt x="126" y="97"/>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39" name="Oval 172"/>
            <p:cNvSpPr>
              <a:spLocks noChangeArrowheads="1"/>
            </p:cNvSpPr>
            <p:nvPr/>
          </p:nvSpPr>
          <p:spPr bwMode="auto">
            <a:xfrm>
              <a:off x="6574" y="2947"/>
              <a:ext cx="18" cy="17"/>
            </a:xfrm>
            <a:prstGeom prst="ellipse">
              <a:avLst/>
            </a:prstGeom>
            <a:solidFill>
              <a:srgbClr val="45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sp>
        <p:nvSpPr>
          <p:cNvPr id="240" name="TextBox 239"/>
          <p:cNvSpPr txBox="1"/>
          <p:nvPr/>
        </p:nvSpPr>
        <p:spPr>
          <a:xfrm>
            <a:off x="274723" y="2207939"/>
            <a:ext cx="646278" cy="4029233"/>
          </a:xfrm>
          <a:prstGeom prst="rect">
            <a:avLst/>
          </a:prstGeom>
          <a:noFill/>
        </p:spPr>
        <p:txBody>
          <a:bodyPr vert="vert270" wrap="square" lIns="182854" tIns="146283" rIns="182854" bIns="146283" rtlCol="0">
            <a:spAutoFit/>
          </a:bodyPr>
          <a:lstStyle/>
          <a:p>
            <a:pPr algn="r" defTabSz="914224">
              <a:lnSpc>
                <a:spcPct val="90000"/>
              </a:lnSpc>
              <a:spcAft>
                <a:spcPts val="600"/>
              </a:spcAft>
              <a:defRPr/>
            </a:pPr>
            <a:r>
              <a:rPr lang="en-US" sz="2000" b="1" kern="0" cap="all" dirty="0">
                <a:solidFill>
                  <a:srgbClr val="FFFFFF">
                    <a:lumMod val="85000"/>
                  </a:srgbClr>
                </a:solidFill>
                <a:latin typeface="Segoe UI"/>
              </a:rPr>
              <a:t>Customer lifecycle</a:t>
            </a:r>
          </a:p>
        </p:txBody>
      </p:sp>
      <p:sp>
        <p:nvSpPr>
          <p:cNvPr id="241" name="TextBox 240"/>
          <p:cNvSpPr txBox="1"/>
          <p:nvPr/>
        </p:nvSpPr>
        <p:spPr>
          <a:xfrm>
            <a:off x="883" y="6506527"/>
            <a:ext cx="12434711" cy="572383"/>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1000" kern="0" dirty="0">
                <a:gradFill>
                  <a:gsLst>
                    <a:gs pos="2917">
                      <a:srgbClr val="505050"/>
                    </a:gs>
                    <a:gs pos="30000">
                      <a:srgbClr val="505050"/>
                    </a:gs>
                  </a:gsLst>
                  <a:lin ang="5400000" scaled="0"/>
                </a:gradFill>
                <a:latin typeface="Segoe UI Light"/>
              </a:rPr>
              <a:t>Partner Technical Services are available through the MPN technical benefits structure, except for the </a:t>
            </a:r>
            <a:r>
              <a:rPr lang="en-US" sz="1000" i="1" kern="0" dirty="0">
                <a:gradFill>
                  <a:gsLst>
                    <a:gs pos="2917">
                      <a:srgbClr val="505050"/>
                    </a:gs>
                    <a:gs pos="30000">
                      <a:srgbClr val="505050"/>
                    </a:gs>
                  </a:gsLst>
                  <a:lin ang="5400000" scaled="0"/>
                </a:gradFill>
                <a:latin typeface="Segoe UI Light"/>
              </a:rPr>
              <a:t>Advanced Support for Partners (</a:t>
            </a:r>
            <a:r>
              <a:rPr lang="en-US" sz="1000" i="1" kern="0" dirty="0">
                <a:gradFill>
                  <a:gsLst>
                    <a:gs pos="2917">
                      <a:srgbClr val="505050"/>
                    </a:gs>
                    <a:gs pos="30000">
                      <a:srgbClr val="505050"/>
                    </a:gs>
                  </a:gsLst>
                  <a:lin ang="5400000" scaled="0"/>
                </a:gradFill>
                <a:latin typeface="Segoe UI"/>
                <a:hlinkClick r:id="rId3"/>
              </a:rPr>
              <a:t>aka.ms/</a:t>
            </a:r>
            <a:r>
              <a:rPr lang="en-US" sz="1000" i="1" kern="0" dirty="0" err="1">
                <a:gradFill>
                  <a:gsLst>
                    <a:gs pos="2917">
                      <a:srgbClr val="505050"/>
                    </a:gs>
                    <a:gs pos="30000">
                      <a:srgbClr val="505050"/>
                    </a:gs>
                  </a:gsLst>
                  <a:lin ang="5400000" scaled="0"/>
                </a:gradFill>
                <a:latin typeface="Segoe UI"/>
                <a:hlinkClick r:id="rId3"/>
              </a:rPr>
              <a:t>asfp</a:t>
            </a:r>
            <a:r>
              <a:rPr lang="en-US" sz="1000" kern="0" dirty="0">
                <a:gradFill>
                  <a:gsLst>
                    <a:gs pos="2917">
                      <a:srgbClr val="505050"/>
                    </a:gs>
                    <a:gs pos="30000">
                      <a:srgbClr val="505050"/>
                    </a:gs>
                  </a:gsLst>
                  <a:lin ang="5400000" scaled="0"/>
                </a:gradFill>
                <a:latin typeface="Segoe UI Light"/>
                <a:hlinkClick r:id="rId3"/>
              </a:rPr>
              <a:t>)</a:t>
            </a:r>
            <a:r>
              <a:rPr lang="en-US" sz="1000" i="1" kern="0" dirty="0">
                <a:gradFill>
                  <a:gsLst>
                    <a:gs pos="2917">
                      <a:srgbClr val="505050"/>
                    </a:gs>
                    <a:gs pos="30000">
                      <a:srgbClr val="505050"/>
                    </a:gs>
                  </a:gsLst>
                  <a:lin ang="5400000" scaled="0"/>
                </a:gradFill>
                <a:latin typeface="Segoe UI"/>
              </a:rPr>
              <a:t> </a:t>
            </a:r>
            <a:r>
              <a:rPr lang="en-US" sz="1000" kern="0" dirty="0">
                <a:gradFill>
                  <a:gsLst>
                    <a:gs pos="2917">
                      <a:srgbClr val="505050"/>
                    </a:gs>
                    <a:gs pos="30000">
                      <a:srgbClr val="505050"/>
                    </a:gs>
                  </a:gsLst>
                  <a:lin ang="5400000" scaled="0"/>
                </a:gradFill>
                <a:latin typeface="Segoe UI Light"/>
              </a:rPr>
              <a:t>and </a:t>
            </a:r>
            <a:r>
              <a:rPr lang="en-US" sz="1000" i="1" kern="0" dirty="0">
                <a:gradFill>
                  <a:gsLst>
                    <a:gs pos="2917">
                      <a:srgbClr val="505050"/>
                    </a:gs>
                    <a:gs pos="30000">
                      <a:srgbClr val="505050"/>
                    </a:gs>
                  </a:gsLst>
                  <a:lin ang="5400000" scaled="0"/>
                </a:gradFill>
                <a:latin typeface="Segoe UI Light"/>
              </a:rPr>
              <a:t>Premier Support for </a:t>
            </a:r>
            <a:r>
              <a:rPr lang="en-US" sz="1000" i="1" kern="0" dirty="0">
                <a:gradFill>
                  <a:gsLst>
                    <a:gs pos="2917">
                      <a:srgbClr val="505050"/>
                    </a:gs>
                    <a:gs pos="30000">
                      <a:srgbClr val="505050"/>
                    </a:gs>
                  </a:gsLst>
                  <a:lin ang="5400000" scaled="0"/>
                </a:gradFill>
                <a:latin typeface="Segoe UI"/>
              </a:rPr>
              <a:t>Partners (</a:t>
            </a:r>
            <a:r>
              <a:rPr lang="en-US" sz="1000" i="1" kern="0" dirty="0">
                <a:gradFill>
                  <a:gsLst>
                    <a:gs pos="2917">
                      <a:srgbClr val="505050"/>
                    </a:gs>
                    <a:gs pos="30000">
                      <a:srgbClr val="505050"/>
                    </a:gs>
                  </a:gsLst>
                  <a:lin ang="5400000" scaled="0"/>
                </a:gradFill>
                <a:latin typeface="Segoe UI"/>
                <a:hlinkClick r:id="rId4"/>
              </a:rPr>
              <a:t>aka.ms/premier</a:t>
            </a:r>
            <a:r>
              <a:rPr lang="en-US" sz="1000" i="1" kern="0" dirty="0">
                <a:gradFill>
                  <a:gsLst>
                    <a:gs pos="2917">
                      <a:srgbClr val="505050"/>
                    </a:gs>
                    <a:gs pos="30000">
                      <a:srgbClr val="505050"/>
                    </a:gs>
                  </a:gsLst>
                  <a:lin ang="5400000" scaled="0"/>
                </a:gradFill>
                <a:latin typeface="Segoe UI"/>
              </a:rPr>
              <a:t>) </a:t>
            </a:r>
            <a:r>
              <a:rPr lang="en-US" sz="1000" kern="0" dirty="0">
                <a:gradFill>
                  <a:gsLst>
                    <a:gs pos="2917">
                      <a:srgbClr val="505050"/>
                    </a:gs>
                    <a:gs pos="30000">
                      <a:srgbClr val="505050"/>
                    </a:gs>
                  </a:gsLst>
                  <a:lin ang="5400000" scaled="0"/>
                </a:gradFill>
                <a:latin typeface="Segoe UI Light"/>
              </a:rPr>
              <a:t>support offerings. </a:t>
            </a:r>
            <a:br>
              <a:rPr lang="en-US" sz="1000" kern="0" dirty="0">
                <a:gradFill>
                  <a:gsLst>
                    <a:gs pos="2917">
                      <a:srgbClr val="505050"/>
                    </a:gs>
                    <a:gs pos="30000">
                      <a:srgbClr val="505050"/>
                    </a:gs>
                  </a:gsLst>
                  <a:lin ang="5400000" scaled="0"/>
                </a:gradFill>
                <a:latin typeface="Segoe UI Light"/>
              </a:rPr>
            </a:br>
            <a:r>
              <a:rPr lang="en-US" sz="1000" kern="0" dirty="0">
                <a:gradFill>
                  <a:gsLst>
                    <a:gs pos="2917">
                      <a:srgbClr val="505050"/>
                    </a:gs>
                    <a:gs pos="30000">
                      <a:srgbClr val="505050"/>
                    </a:gs>
                  </a:gsLst>
                  <a:lin ang="5400000" scaled="0"/>
                </a:gradFill>
                <a:latin typeface="Segoe UI Light"/>
              </a:rPr>
              <a:t>Visit </a:t>
            </a:r>
            <a:r>
              <a:rPr lang="en-US" sz="1000" kern="0" dirty="0">
                <a:gradFill>
                  <a:gsLst>
                    <a:gs pos="2917">
                      <a:srgbClr val="505050"/>
                    </a:gs>
                    <a:gs pos="30000">
                      <a:srgbClr val="505050"/>
                    </a:gs>
                  </a:gsLst>
                  <a:lin ang="5400000" scaled="0"/>
                </a:gradFill>
                <a:latin typeface="Segoe UI Light"/>
                <a:hlinkClick r:id="rId5"/>
              </a:rPr>
              <a:t>aka.ms/</a:t>
            </a:r>
            <a:r>
              <a:rPr lang="en-US" sz="1000" kern="0" dirty="0" err="1">
                <a:gradFill>
                  <a:gsLst>
                    <a:gs pos="2917">
                      <a:srgbClr val="505050"/>
                    </a:gs>
                    <a:gs pos="30000">
                      <a:srgbClr val="505050"/>
                    </a:gs>
                  </a:gsLst>
                  <a:lin ang="5400000" scaled="0"/>
                </a:gradFill>
                <a:latin typeface="Segoe UI Light"/>
                <a:hlinkClick r:id="rId5"/>
              </a:rPr>
              <a:t>CoreBenefits</a:t>
            </a:r>
            <a:r>
              <a:rPr lang="en-US" sz="1000" kern="0" dirty="0">
                <a:gradFill>
                  <a:gsLst>
                    <a:gs pos="2917">
                      <a:srgbClr val="505050"/>
                    </a:gs>
                    <a:gs pos="30000">
                      <a:srgbClr val="505050"/>
                    </a:gs>
                  </a:gsLst>
                  <a:lin ang="5400000" scaled="0"/>
                </a:gradFill>
                <a:latin typeface="Segoe UI Light"/>
              </a:rPr>
              <a:t>, and for more information.</a:t>
            </a:r>
          </a:p>
        </p:txBody>
      </p:sp>
      <p:sp>
        <p:nvSpPr>
          <p:cNvPr id="79" name="Rectangle 78"/>
          <p:cNvSpPr/>
          <p:nvPr/>
        </p:nvSpPr>
        <p:spPr bwMode="auto">
          <a:xfrm>
            <a:off x="3635908" y="5556552"/>
            <a:ext cx="5446272" cy="35419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Advanced Support for Partners</a:t>
            </a:r>
            <a:endParaRPr lang="en-GB" sz="1599" kern="0" dirty="0">
              <a:solidFill>
                <a:srgbClr val="002050"/>
              </a:solidFill>
              <a:latin typeface="Segoe UI"/>
              <a:ea typeface="Segoe UI" pitchFamily="34" charset="0"/>
              <a:cs typeface="Segoe UI" pitchFamily="34" charset="0"/>
            </a:endParaRPr>
          </a:p>
        </p:txBody>
      </p:sp>
      <p:sp>
        <p:nvSpPr>
          <p:cNvPr id="80" name="Rectangle 79"/>
          <p:cNvSpPr/>
          <p:nvPr/>
        </p:nvSpPr>
        <p:spPr bwMode="auto">
          <a:xfrm>
            <a:off x="3635909" y="5965460"/>
            <a:ext cx="5446271" cy="366149"/>
          </a:xfrm>
          <a:prstGeom prst="rect">
            <a:avLst/>
          </a:prstGeom>
          <a:solidFill>
            <a:schemeClr val="bg1">
              <a:lumMod val="85000"/>
            </a:schemeClr>
          </a:solid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696" rIns="91427" bIns="45696" numCol="1" spcCol="0" rtlCol="0" fromWordArt="0" anchor="ctr" anchorCtr="0" forceAA="0" compatLnSpc="1">
            <a:prstTxWarp prst="textNoShape">
              <a:avLst/>
            </a:prstTxWarp>
            <a:noAutofit/>
          </a:bodyPr>
          <a:lstStyle/>
          <a:p>
            <a:pPr algn="ctr" defTabSz="913561" fontAlgn="base">
              <a:spcBef>
                <a:spcPct val="0"/>
              </a:spcBef>
              <a:spcAft>
                <a:spcPct val="0"/>
              </a:spcAft>
              <a:defRPr/>
            </a:pPr>
            <a:r>
              <a:rPr lang="en-US" sz="1599" kern="0" dirty="0">
                <a:solidFill>
                  <a:srgbClr val="002050"/>
                </a:solidFill>
                <a:latin typeface="Segoe UI Semibold" panose="020B0702040204020203" pitchFamily="34" charset="0"/>
                <a:ea typeface="Segoe UI" pitchFamily="34" charset="0"/>
                <a:cs typeface="Segoe UI Semibold" panose="020B0702040204020203" pitchFamily="34" charset="0"/>
              </a:rPr>
              <a:t>Premier Support for Partners</a:t>
            </a:r>
            <a:endParaRPr lang="en-GB" sz="1599" kern="0" dirty="0">
              <a:solidFill>
                <a:srgbClr val="002050"/>
              </a:solidFill>
              <a:latin typeface="Segoe UI"/>
              <a:ea typeface="Segoe UI" pitchFamily="34" charset="0"/>
              <a:cs typeface="Segoe UI" pitchFamily="34" charset="0"/>
            </a:endParaRPr>
          </a:p>
        </p:txBody>
      </p:sp>
      <p:sp>
        <p:nvSpPr>
          <p:cNvPr id="5" name="Rectangle 4"/>
          <p:cNvSpPr/>
          <p:nvPr/>
        </p:nvSpPr>
        <p:spPr bwMode="auto">
          <a:xfrm>
            <a:off x="3592160" y="5493599"/>
            <a:ext cx="5539054" cy="898853"/>
          </a:xfrm>
          <a:prstGeom prst="rect">
            <a:avLst/>
          </a:prstGeom>
          <a:noFill/>
          <a:ln w="12700">
            <a:solidFill>
              <a:srgbClr val="00205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781914" y="5608365"/>
            <a:ext cx="898853" cy="676817"/>
          </a:xfrm>
          <a:prstGeom prst="rect">
            <a:avLst/>
          </a:prstGeom>
          <a:noFill/>
        </p:spPr>
        <p:txBody>
          <a:bodyPr wrap="square" lIns="182854" tIns="146283" rIns="182854" bIns="146283" rtlCol="0">
            <a:spAutoFit/>
          </a:bodyPr>
          <a:lstStyle/>
          <a:p>
            <a:pPr algn="r" defTabSz="914224">
              <a:lnSpc>
                <a:spcPct val="90000"/>
              </a:lnSpc>
              <a:spcAft>
                <a:spcPts val="600"/>
              </a:spcAft>
              <a:defRPr/>
            </a:pPr>
            <a:r>
              <a:rPr lang="en-US" sz="900" kern="0" dirty="0">
                <a:solidFill>
                  <a:srgbClr val="002050"/>
                </a:solidFill>
                <a:latin typeface="Segoe UI"/>
              </a:rPr>
              <a:t>Additional support offerings</a:t>
            </a:r>
          </a:p>
        </p:txBody>
      </p:sp>
      <p:grpSp>
        <p:nvGrpSpPr>
          <p:cNvPr id="83" name="Group 82"/>
          <p:cNvGrpSpPr/>
          <p:nvPr/>
        </p:nvGrpSpPr>
        <p:grpSpPr>
          <a:xfrm>
            <a:off x="467998" y="6006828"/>
            <a:ext cx="2384018" cy="493052"/>
            <a:chOff x="366141" y="6285618"/>
            <a:chExt cx="2384356" cy="493122"/>
          </a:xfrm>
        </p:grpSpPr>
        <p:grpSp>
          <p:nvGrpSpPr>
            <p:cNvPr id="84" name="Group 83"/>
            <p:cNvGrpSpPr/>
            <p:nvPr/>
          </p:nvGrpSpPr>
          <p:grpSpPr>
            <a:xfrm>
              <a:off x="427037" y="6285618"/>
              <a:ext cx="1724734" cy="493122"/>
              <a:chOff x="659133" y="6285618"/>
              <a:chExt cx="1724734" cy="493122"/>
            </a:xfrm>
          </p:grpSpPr>
          <p:sp>
            <p:nvSpPr>
              <p:cNvPr id="86" name="TextBox 85">
                <a:hlinkClick r:id="rId6"/>
              </p:cNvPr>
              <p:cNvSpPr txBox="1"/>
              <p:nvPr/>
            </p:nvSpPr>
            <p:spPr>
              <a:xfrm>
                <a:off x="927162" y="6285618"/>
                <a:ext cx="1456705" cy="49312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399" kern="0" dirty="0">
                    <a:solidFill>
                      <a:srgbClr val="0078D7"/>
                    </a:solidFill>
                    <a:latin typeface="Segoe UI"/>
                  </a:rPr>
                  <a:t>Watch videos</a:t>
                </a:r>
              </a:p>
            </p:txBody>
          </p:sp>
          <p:sp>
            <p:nvSpPr>
              <p:cNvPr id="87" name="Oval 86">
                <a:hlinkClick r:id="rId6"/>
              </p:cNvPr>
              <p:cNvSpPr/>
              <p:nvPr/>
            </p:nvSpPr>
            <p:spPr bwMode="auto">
              <a:xfrm>
                <a:off x="659133" y="6346844"/>
                <a:ext cx="342831" cy="342831"/>
              </a:xfrm>
              <a:prstGeom prst="ellipse">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Isosceles Triangle 87">
                <a:hlinkClick r:id="rId6"/>
              </p:cNvPr>
              <p:cNvSpPr/>
              <p:nvPr/>
            </p:nvSpPr>
            <p:spPr bwMode="auto">
              <a:xfrm rot="19759176" flipH="1">
                <a:off x="706726" y="6397187"/>
                <a:ext cx="209544" cy="180641"/>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5" name="Rectangle 84"/>
            <p:cNvSpPr/>
            <p:nvPr/>
          </p:nvSpPr>
          <p:spPr bwMode="auto">
            <a:xfrm>
              <a:off x="366141" y="6285618"/>
              <a:ext cx="2384356" cy="4893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 name="Rectangle: Rounded Corners 2"/>
          <p:cNvSpPr/>
          <p:nvPr/>
        </p:nvSpPr>
        <p:spPr bwMode="auto">
          <a:xfrm>
            <a:off x="3526961" y="5443322"/>
            <a:ext cx="5668971" cy="532617"/>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95229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60047" y="3145091"/>
            <a:ext cx="3288040" cy="704345"/>
          </a:xfrm>
          <a:prstGeom prst="rect">
            <a:avLst/>
          </a:prstGeom>
        </p:spPr>
      </p:pic>
    </p:spTree>
    <p:extLst>
      <p:ext uri="{BB962C8B-B14F-4D97-AF65-F5344CB8AC3E}">
        <p14:creationId xmlns:p14="http://schemas.microsoft.com/office/powerpoint/2010/main" val="329709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5"/>
          <p:cNvSpPr/>
          <p:nvPr/>
        </p:nvSpPr>
        <p:spPr>
          <a:xfrm>
            <a:off x="7865827" y="784230"/>
            <a:ext cx="4373666" cy="5961730"/>
          </a:xfrm>
          <a:prstGeom prst="rightArrow">
            <a:avLst>
              <a:gd name="adj1" fmla="val 88526"/>
              <a:gd name="adj2" fmla="val 385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6" name="Right Arrow 5"/>
          <p:cNvSpPr/>
          <p:nvPr/>
        </p:nvSpPr>
        <p:spPr>
          <a:xfrm>
            <a:off x="4160480" y="1879209"/>
            <a:ext cx="4289975" cy="3854797"/>
          </a:xfrm>
          <a:prstGeom prst="rightArrow">
            <a:avLst>
              <a:gd name="adj1" fmla="val 84225"/>
              <a:gd name="adj2" fmla="val 3856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7" name="Right Arrow 5"/>
          <p:cNvSpPr/>
          <p:nvPr/>
        </p:nvSpPr>
        <p:spPr>
          <a:xfrm>
            <a:off x="371443" y="2382651"/>
            <a:ext cx="4289975" cy="2847912"/>
          </a:xfrm>
          <a:prstGeom prst="rightArrow">
            <a:avLst>
              <a:gd name="adj1" fmla="val 72542"/>
              <a:gd name="adj2" fmla="val 38018"/>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8" name="Text Placeholder 3"/>
          <p:cNvSpPr txBox="1">
            <a:spLocks/>
          </p:cNvSpPr>
          <p:nvPr/>
        </p:nvSpPr>
        <p:spPr>
          <a:xfrm>
            <a:off x="695213" y="2731985"/>
            <a:ext cx="3176720" cy="2066218"/>
          </a:xfrm>
          <a:prstGeom prst="rect">
            <a:avLst/>
          </a:prstGeom>
        </p:spPr>
        <p:txBody>
          <a:bodyPr>
            <a:normAutofit/>
          </a:bodyPr>
          <a:lst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Segoe UI" panose="020B0502040204020203" pitchFamily="34" charset="0"/>
                <a:ea typeface="+mn-ea"/>
                <a:cs typeface="Segoe UI" panose="020B0502040204020203" pitchFamily="34" charset="0"/>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Segoe UI" panose="020B0502040204020203" pitchFamily="34" charset="0"/>
                <a:ea typeface="+mn-ea"/>
                <a:cs typeface="Segoe UI" panose="020B0502040204020203" pitchFamily="34" charset="0"/>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Segoe UI" panose="020B0502040204020203" pitchFamily="34" charset="0"/>
                <a:ea typeface="+mn-ea"/>
                <a:cs typeface="Segoe UI" panose="020B0502040204020203" pitchFamily="34" charset="0"/>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32317" rtl="0" eaLnBrk="1" fontAlgn="auto" latinLnBrk="0" hangingPunct="1">
              <a:lnSpc>
                <a:spcPct val="150000"/>
              </a:lnSpc>
              <a:spcBef>
                <a:spcPts val="1020"/>
              </a:spcBef>
              <a:spcAft>
                <a:spcPts val="0"/>
              </a:spcAft>
              <a:buClrTx/>
              <a:buSzTx/>
              <a:buFont typeface="Arial" panose="020B0604020202020204" pitchFamily="34" charset="0"/>
              <a:buNone/>
              <a:tabLst/>
              <a:defRPr/>
            </a:pPr>
            <a:r>
              <a:rPr kumimoji="0" lang="en-US" sz="1999"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minate a Champion</a:t>
            </a:r>
          </a:p>
          <a:p>
            <a:pPr marL="233079" marR="0" lvl="0" indent="-233079" algn="l" defTabSz="932317" rtl="0" eaLnBrk="1" fontAlgn="auto" latinLnBrk="0" hangingPunct="1">
              <a:lnSpc>
                <a:spcPct val="110000"/>
              </a:lnSpc>
              <a:spcBef>
                <a:spcPts val="1020"/>
              </a:spcBef>
              <a:spcAft>
                <a:spcPts val="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dicated Employee</a:t>
            </a:r>
          </a:p>
          <a:p>
            <a:pPr marL="233079" marR="0" lvl="0" indent="-233079" algn="l" defTabSz="932317" rtl="0" eaLnBrk="1" fontAlgn="auto" latinLnBrk="0" hangingPunct="1">
              <a:lnSpc>
                <a:spcPct val="110000"/>
              </a:lnSpc>
              <a:spcBef>
                <a:spcPts val="1020"/>
              </a:spcBef>
              <a:spcAft>
                <a:spcPts val="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chnical &amp; Sales Skills</a:t>
            </a:r>
          </a:p>
          <a:p>
            <a:pPr marL="233079" marR="0" lvl="0" indent="-233079" algn="l" defTabSz="932317" rtl="0" eaLnBrk="1" fontAlgn="auto" latinLnBrk="0" hangingPunct="1">
              <a:lnSpc>
                <a:spcPct val="110000"/>
              </a:lnSpc>
              <a:spcBef>
                <a:spcPts val="1020"/>
              </a:spcBef>
              <a:spcAft>
                <a:spcPts val="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duit for External Information and Internal Questions</a:t>
            </a:r>
          </a:p>
        </p:txBody>
      </p:sp>
      <p:sp>
        <p:nvSpPr>
          <p:cNvPr id="9" name="Title 2"/>
          <p:cNvSpPr>
            <a:spLocks noGrp="1"/>
          </p:cNvSpPr>
          <p:nvPr>
            <p:ph type="title" idx="4294967295"/>
          </p:nvPr>
        </p:nvSpPr>
        <p:spPr>
          <a:xfrm>
            <a:off x="541662" y="170006"/>
            <a:ext cx="11353150" cy="778788"/>
          </a:xfrm>
        </p:spPr>
        <p:txBody>
          <a:bodyPr>
            <a:normAutofit/>
          </a:bodyPr>
          <a:lstStyle/>
          <a:p>
            <a:pPr algn="ctr" defTabSz="932384">
              <a:defRPr/>
            </a:pPr>
            <a:r>
              <a:rPr lang="en-US" sz="4798" spc="-102" dirty="0">
                <a:ln w="3175">
                  <a:noFill/>
                </a:ln>
                <a:ea typeface="+mn-ea"/>
              </a:rPr>
              <a:t>Getting Started with Azure</a:t>
            </a:r>
          </a:p>
        </p:txBody>
      </p:sp>
      <p:sp>
        <p:nvSpPr>
          <p:cNvPr id="11" name="Text Placeholder 3"/>
          <p:cNvSpPr txBox="1">
            <a:spLocks/>
          </p:cNvSpPr>
          <p:nvPr/>
        </p:nvSpPr>
        <p:spPr>
          <a:xfrm>
            <a:off x="4601644" y="2157382"/>
            <a:ext cx="3194919" cy="3215426"/>
          </a:xfrm>
          <a:prstGeom prst="rect">
            <a:avLst/>
          </a:prstGeom>
        </p:spPr>
        <p:txBody>
          <a:bodyPr vert="horz" lIns="93260" tIns="46630" rIns="93260" bIns="46630" rtlCol="0">
            <a:normAutofit/>
          </a:bodyPr>
          <a:lstStyle>
            <a:lvl1pPr marL="0" indent="0" algn="l" defTabSz="914400" rtl="0" eaLnBrk="1" latinLnBrk="0" hangingPunct="1">
              <a:lnSpc>
                <a:spcPct val="90000"/>
              </a:lnSpc>
              <a:spcBef>
                <a:spcPts val="588"/>
              </a:spcBef>
              <a:buFont typeface="Arial" panose="020B0604020202020204" pitchFamily="34" charset="0"/>
              <a:buNone/>
              <a:defRPr sz="1961" b="0" kern="1200">
                <a:solidFill>
                  <a:schemeClr val="tx1"/>
                </a:solidFill>
                <a:latin typeface="Segoe UI Semibold" panose="020B0702040204020203" pitchFamily="34" charset="0"/>
                <a:ea typeface="+mn-ea"/>
                <a:cs typeface="+mn-cs"/>
              </a:defRPr>
            </a:lvl1pPr>
            <a:lvl2pPr marL="336145" marR="0" indent="-224097" algn="l" defTabSz="544196" rtl="0" eaLnBrk="1" fontAlgn="auto" latinLnBrk="0" hangingPunct="1">
              <a:lnSpc>
                <a:spcPct val="100000"/>
              </a:lnSpc>
              <a:spcBef>
                <a:spcPts val="294"/>
              </a:spcBef>
              <a:spcAft>
                <a:spcPts val="294"/>
              </a:spcAft>
              <a:buClrTx/>
              <a:buSzTx/>
              <a:buFont typeface="Arial" panose="020B0604020202020204" pitchFamily="34" charset="0"/>
              <a:buChar char="•"/>
              <a:tabLst/>
              <a:defRPr sz="1765" kern="1200">
                <a:solidFill>
                  <a:schemeClr val="tx1"/>
                </a:solidFill>
                <a:latin typeface="+mn-lt"/>
                <a:ea typeface="+mn-ea"/>
                <a:cs typeface="+mn-cs"/>
              </a:defRPr>
            </a:lvl2pPr>
            <a:lvl3pPr marL="1088393" indent="0" algn="l"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3pPr>
            <a:lvl4pPr marL="1632589" indent="0" algn="l"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4pPr>
            <a:lvl5pPr marL="2176785" indent="0" algn="l"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597"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mbrace Internally</a:t>
            </a:r>
          </a:p>
          <a:p>
            <a:pPr marL="342834" marR="0" lvl="1" indent="-228557" algn="l" defTabSz="555026" rtl="0" eaLnBrk="1" fontAlgn="auto" latinLnBrk="0" hangingPunct="1">
              <a:lnSpc>
                <a:spcPct val="15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tivate your </a:t>
            </a:r>
            <a:r>
              <a:rPr kumimoji="0" lang="en-US" sz="1428"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IURs</a:t>
            </a:r>
          </a:p>
          <a:p>
            <a:pPr marL="342834" marR="0" lvl="1" indent="-228557" algn="l" defTabSz="555026" rtl="0" eaLnBrk="1" fontAlgn="auto" latinLnBrk="0" hangingPunct="1">
              <a:lnSpc>
                <a:spcPct val="15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earn the Key SMB Workloads</a:t>
            </a:r>
          </a:p>
          <a:p>
            <a:pPr marL="342834" marR="0" lvl="1" indent="-228557" algn="l" defTabSz="555026" rtl="0" eaLnBrk="1" fontAlgn="auto" latinLnBrk="0" hangingPunct="1">
              <a:lnSpc>
                <a:spcPct val="15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et Certified </a:t>
            </a:r>
          </a:p>
          <a:p>
            <a:pPr marL="342834" marR="0" lvl="1" indent="-228557" algn="l" defTabSz="555026" rtl="0" eaLnBrk="1" fontAlgn="auto" latinLnBrk="0" hangingPunct="1">
              <a:lnSpc>
                <a:spcPct val="15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 plan &amp; set internal goals</a:t>
            </a:r>
          </a:p>
          <a:p>
            <a:pPr marL="342834" marR="0" lvl="1" indent="-228557" algn="l" defTabSz="555026" rtl="0" eaLnBrk="1" fontAlgn="auto" latinLnBrk="0" hangingPunct="1">
              <a:lnSpc>
                <a:spcPct val="15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ke advantage of the Hands-On-Labs and Massively Open Online Courseware</a:t>
            </a:r>
          </a:p>
        </p:txBody>
      </p:sp>
      <p:sp>
        <p:nvSpPr>
          <p:cNvPr id="16" name="Text Placeholder 3"/>
          <p:cNvSpPr txBox="1">
            <a:spLocks/>
          </p:cNvSpPr>
          <p:nvPr/>
        </p:nvSpPr>
        <p:spPr>
          <a:xfrm>
            <a:off x="8028423" y="1152912"/>
            <a:ext cx="3332199" cy="3405218"/>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588"/>
              </a:spcBef>
              <a:buFont typeface="Arial" panose="020B0604020202020204" pitchFamily="34" charset="0"/>
              <a:buNone/>
              <a:defRPr sz="1961" b="0" kern="1200">
                <a:solidFill>
                  <a:schemeClr val="tx1"/>
                </a:solidFill>
                <a:latin typeface="Segoe UI Semibold" panose="020B0702040204020203" pitchFamily="34" charset="0"/>
                <a:ea typeface="+mn-ea"/>
                <a:cs typeface="+mn-cs"/>
              </a:defRPr>
            </a:lvl1pPr>
            <a:lvl2pPr marL="336145" marR="0" indent="-224097" algn="l" defTabSz="544196" rtl="0" eaLnBrk="1" fontAlgn="auto" latinLnBrk="0" hangingPunct="1">
              <a:lnSpc>
                <a:spcPct val="100000"/>
              </a:lnSpc>
              <a:spcBef>
                <a:spcPts val="294"/>
              </a:spcBef>
              <a:spcAft>
                <a:spcPts val="294"/>
              </a:spcAft>
              <a:buClrTx/>
              <a:buSzTx/>
              <a:buFont typeface="Arial" panose="020B0604020202020204" pitchFamily="34" charset="0"/>
              <a:buChar char="•"/>
              <a:tabLst/>
              <a:defRPr sz="1765" kern="1200">
                <a:solidFill>
                  <a:schemeClr val="tx1"/>
                </a:solidFill>
                <a:latin typeface="+mn-lt"/>
                <a:ea typeface="+mn-ea"/>
                <a:cs typeface="+mn-cs"/>
              </a:defRPr>
            </a:lvl2pPr>
            <a:lvl3pPr marL="1088393" indent="0" algn="l"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3pPr>
            <a:lvl4pPr marL="1632589" indent="0" algn="l"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4pPr>
            <a:lvl5pPr marL="2176785" indent="0" algn="l"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597"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o to Market</a:t>
            </a:r>
          </a:p>
          <a:p>
            <a:pPr marL="342834" marR="0" lvl="1" indent="-228557" algn="l" defTabSz="555026" rtl="0" eaLnBrk="1" fontAlgn="auto" latinLnBrk="0" hangingPunct="1">
              <a:lnSpc>
                <a:spcPct val="11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Join </a:t>
            </a:r>
            <a:r>
              <a:rPr kumimoji="0" lang="en-US" sz="1428"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Mentor Program</a:t>
            </a:r>
          </a:p>
          <a:p>
            <a:pPr marL="342834" marR="0" lvl="1" indent="-228557" algn="l" defTabSz="555026" rtl="0" eaLnBrk="1" fontAlgn="auto" latinLnBrk="0" hangingPunct="1">
              <a:lnSpc>
                <a:spcPct val="11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vest, win, and learn from your first few customers</a:t>
            </a:r>
          </a:p>
          <a:p>
            <a:pPr marL="342834" marR="0" lvl="1" indent="-228557" algn="l" defTabSz="555026" rtl="0" eaLnBrk="1" fontAlgn="auto" latinLnBrk="0" hangingPunct="1">
              <a:lnSpc>
                <a:spcPct val="110000"/>
              </a:lnSpc>
              <a:spcBef>
                <a:spcPts val="300"/>
              </a:spcBef>
              <a:spcAft>
                <a:spcPts val="300"/>
              </a:spcAft>
              <a:buClrTx/>
              <a:buSzTx/>
              <a:buFont typeface="Wingdings" panose="05000000000000000000" pitchFamily="2" charset="2"/>
              <a:buChar char="v"/>
              <a:tabLst/>
              <a:defRPr/>
            </a:pP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olution bundles your team can sell:</a:t>
            </a:r>
          </a:p>
          <a:p>
            <a:pPr marL="622438" marR="0" lvl="2" indent="-291436" algn="l" defTabSz="555026" rtl="0" eaLnBrk="1" fontAlgn="auto" latinLnBrk="0" hangingPunct="1">
              <a:lnSpc>
                <a:spcPct val="100000"/>
              </a:lnSpc>
              <a:spcBef>
                <a:spcPts val="153"/>
              </a:spcBef>
              <a:spcAft>
                <a:spcPts val="153"/>
              </a:spcAft>
              <a:buClrTx/>
              <a:buSzTx/>
              <a:buFont typeface="Wingdings" panose="05000000000000000000" pitchFamily="2" charset="2"/>
              <a:buChar char="v"/>
              <a:tabLst/>
              <a:defRPr/>
            </a:pPr>
            <a:r>
              <a:rPr kumimoji="0" lang="en-US" sz="1428"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tart with </a:t>
            </a:r>
            <a:r>
              <a:rPr kumimoji="0" lang="en-US" sz="1428" b="0" i="0" u="sng"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ugmenting existing offerings</a:t>
            </a: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Identity, Backup, Site Recovery, Storage</a:t>
            </a:r>
          </a:p>
          <a:p>
            <a:pPr marL="622438" marR="0" lvl="2" indent="-291436" algn="l" defTabSz="555026" rtl="0" eaLnBrk="1" fontAlgn="auto" latinLnBrk="0" hangingPunct="1">
              <a:lnSpc>
                <a:spcPct val="100000"/>
              </a:lnSpc>
              <a:spcBef>
                <a:spcPts val="153"/>
              </a:spcBef>
              <a:spcAft>
                <a:spcPts val="153"/>
              </a:spcAft>
              <a:buClrTx/>
              <a:buSzTx/>
              <a:buFont typeface="Wingdings" panose="05000000000000000000" pitchFamily="2" charset="2"/>
              <a:buChar char="v"/>
              <a:tabLst/>
              <a:defRPr/>
            </a:pPr>
            <a:r>
              <a:rPr kumimoji="0" lang="en-US" sz="1428"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gress to</a:t>
            </a: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428" b="0" i="0" u="sng"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extend the network, old server replacements, VMs / RDS / Websites</a:t>
            </a:r>
          </a:p>
          <a:p>
            <a:pPr marL="622438" marR="0" lvl="2" indent="-291436" algn="l" defTabSz="555026" rtl="0" eaLnBrk="1" fontAlgn="auto" latinLnBrk="0" hangingPunct="1">
              <a:lnSpc>
                <a:spcPct val="100000"/>
              </a:lnSpc>
              <a:spcBef>
                <a:spcPts val="153"/>
              </a:spcBef>
              <a:spcAft>
                <a:spcPts val="153"/>
              </a:spcAft>
              <a:buClrTx/>
              <a:buSzTx/>
              <a:buFont typeface="Wingdings" panose="05000000000000000000" pitchFamily="2" charset="2"/>
              <a:buChar char="v"/>
              <a:tabLst/>
              <a:defRPr/>
            </a:pPr>
            <a:r>
              <a:rPr kumimoji="0" lang="en-US" sz="1428"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w, Go big with marketing  </a:t>
            </a:r>
            <a:r>
              <a:rPr kumimoji="0" lang="en-US" sz="1428" b="0" i="0" u="sng"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ssessments</a:t>
            </a: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to land new &amp; engage existing customers – leverage </a:t>
            </a:r>
            <a:r>
              <a:rPr kumimoji="0" lang="en-US" sz="1428"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Azure Everywhere</a:t>
            </a:r>
            <a:r>
              <a:rPr kumimoji="0" lang="en-US" sz="1428"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428" b="1" i="0" u="none" strike="noStrike" kern="1200" cap="none" spc="0" normalizeH="0" baseline="0" noProof="0" dirty="0" err="1">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BitTitan</a:t>
            </a:r>
            <a:r>
              <a:rPr kumimoji="0" lang="en-US" sz="1428" b="1" i="0" u="none" strike="noStrike" kern="1200" cap="none" spc="0" normalizeH="0" baseline="0" noProof="0" dirty="0">
                <a:ln>
                  <a:noFill/>
                </a:ln>
                <a:solidFill>
                  <a:srgbClr val="4472C4">
                    <a:lumMod val="75000"/>
                  </a:srgbClr>
                </a:solidFill>
                <a:effectLst/>
                <a:uLnTx/>
                <a:uFillTx/>
                <a:latin typeface="Segoe UI" panose="020B0502040204020203" pitchFamily="34" charset="0"/>
                <a:ea typeface="+mn-ea"/>
                <a:cs typeface="Segoe UI" panose="020B0502040204020203" pitchFamily="34" charset="0"/>
              </a:rPr>
              <a:t> HealthCheck for Azure</a:t>
            </a:r>
          </a:p>
        </p:txBody>
      </p:sp>
    </p:spTree>
    <p:extLst>
      <p:ext uri="{BB962C8B-B14F-4D97-AF65-F5344CB8AC3E}">
        <p14:creationId xmlns:p14="http://schemas.microsoft.com/office/powerpoint/2010/main" val="2190868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BD7E17-C2B9-4FEC-AC48-674B0AA4599B}"/>
              </a:ext>
            </a:extLst>
          </p:cNvPr>
          <p:cNvSpPr>
            <a:spLocks noGrp="1"/>
          </p:cNvSpPr>
          <p:nvPr>
            <p:ph type="title"/>
          </p:nvPr>
        </p:nvSpPr>
        <p:spPr/>
        <p:txBody>
          <a:bodyPr/>
          <a:lstStyle/>
          <a:p>
            <a:r>
              <a:rPr lang="en-US" dirty="0"/>
              <a:t>Azure.Microsoft.com</a:t>
            </a:r>
          </a:p>
        </p:txBody>
      </p:sp>
      <p:pic>
        <p:nvPicPr>
          <p:cNvPr id="5" name="Picture 4">
            <a:extLst>
              <a:ext uri="{FF2B5EF4-FFF2-40B4-BE49-F238E27FC236}">
                <a16:creationId xmlns:a16="http://schemas.microsoft.com/office/drawing/2014/main" id="{2A3C08C2-E6AA-48A2-BF96-95E638FBFE42}"/>
              </a:ext>
            </a:extLst>
          </p:cNvPr>
          <p:cNvPicPr>
            <a:picLocks noChangeAspect="1"/>
          </p:cNvPicPr>
          <p:nvPr/>
        </p:nvPicPr>
        <p:blipFill>
          <a:blip r:embed="rId2"/>
          <a:stretch>
            <a:fillRect/>
          </a:stretch>
        </p:blipFill>
        <p:spPr>
          <a:xfrm>
            <a:off x="0" y="1133475"/>
            <a:ext cx="12436475" cy="7670428"/>
          </a:xfrm>
          <a:prstGeom prst="rect">
            <a:avLst/>
          </a:prstGeom>
        </p:spPr>
      </p:pic>
    </p:spTree>
    <p:extLst>
      <p:ext uri="{BB962C8B-B14F-4D97-AF65-F5344CB8AC3E}">
        <p14:creationId xmlns:p14="http://schemas.microsoft.com/office/powerpoint/2010/main" val="8076422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112E26-FE2A-49FC-A618-B807B540D582}"/>
              </a:ext>
            </a:extLst>
          </p:cNvPr>
          <p:cNvSpPr>
            <a:spLocks noGrp="1"/>
          </p:cNvSpPr>
          <p:nvPr>
            <p:ph type="title"/>
          </p:nvPr>
        </p:nvSpPr>
        <p:spPr/>
        <p:txBody>
          <a:bodyPr/>
          <a:lstStyle/>
          <a:p>
            <a:r>
              <a:rPr lang="en-US" dirty="0"/>
              <a:t>Azure Pricing Calculator</a:t>
            </a:r>
            <a:br>
              <a:rPr lang="en-US" dirty="0"/>
            </a:br>
            <a:r>
              <a:rPr lang="en-US" sz="3600" dirty="0"/>
              <a:t>https://azure.microsoft.com/en-us/pricing/calculator/</a:t>
            </a:r>
            <a:endParaRPr lang="en-US" dirty="0"/>
          </a:p>
        </p:txBody>
      </p:sp>
      <p:pic>
        <p:nvPicPr>
          <p:cNvPr id="5" name="Picture 4">
            <a:extLst>
              <a:ext uri="{FF2B5EF4-FFF2-40B4-BE49-F238E27FC236}">
                <a16:creationId xmlns:a16="http://schemas.microsoft.com/office/drawing/2014/main" id="{24702786-867C-4196-A5AC-855599388F19}"/>
              </a:ext>
            </a:extLst>
          </p:cNvPr>
          <p:cNvPicPr>
            <a:picLocks noChangeAspect="1"/>
          </p:cNvPicPr>
          <p:nvPr/>
        </p:nvPicPr>
        <p:blipFill>
          <a:blip r:embed="rId2"/>
          <a:stretch>
            <a:fillRect/>
          </a:stretch>
        </p:blipFill>
        <p:spPr>
          <a:xfrm>
            <a:off x="0" y="1685925"/>
            <a:ext cx="12436475" cy="7683853"/>
          </a:xfrm>
          <a:prstGeom prst="rect">
            <a:avLst/>
          </a:prstGeom>
        </p:spPr>
      </p:pic>
    </p:spTree>
    <p:extLst>
      <p:ext uri="{BB962C8B-B14F-4D97-AF65-F5344CB8AC3E}">
        <p14:creationId xmlns:p14="http://schemas.microsoft.com/office/powerpoint/2010/main" val="4712251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51D46E-BAA2-41E7-A498-E2F562CA83BE}"/>
              </a:ext>
            </a:extLst>
          </p:cNvPr>
          <p:cNvSpPr>
            <a:spLocks noGrp="1"/>
          </p:cNvSpPr>
          <p:nvPr>
            <p:ph type="title"/>
          </p:nvPr>
        </p:nvSpPr>
        <p:spPr/>
        <p:txBody>
          <a:bodyPr/>
          <a:lstStyle/>
          <a:p>
            <a:r>
              <a:rPr lang="en-US" dirty="0"/>
              <a:t>Azure.Microsoft.com/Roadmap</a:t>
            </a:r>
          </a:p>
        </p:txBody>
      </p:sp>
      <p:pic>
        <p:nvPicPr>
          <p:cNvPr id="8" name="Picture 7">
            <a:extLst>
              <a:ext uri="{FF2B5EF4-FFF2-40B4-BE49-F238E27FC236}">
                <a16:creationId xmlns:a16="http://schemas.microsoft.com/office/drawing/2014/main" id="{91EADF31-7E39-4FC8-B061-5880A8DF85BD}"/>
              </a:ext>
            </a:extLst>
          </p:cNvPr>
          <p:cNvPicPr>
            <a:picLocks noChangeAspect="1"/>
          </p:cNvPicPr>
          <p:nvPr/>
        </p:nvPicPr>
        <p:blipFill>
          <a:blip r:embed="rId3"/>
          <a:stretch>
            <a:fillRect/>
          </a:stretch>
        </p:blipFill>
        <p:spPr>
          <a:xfrm>
            <a:off x="881" y="1229653"/>
            <a:ext cx="12447036" cy="8298024"/>
          </a:xfrm>
          <a:prstGeom prst="rect">
            <a:avLst/>
          </a:prstGeom>
        </p:spPr>
      </p:pic>
    </p:spTree>
    <p:extLst>
      <p:ext uri="{BB962C8B-B14F-4D97-AF65-F5344CB8AC3E}">
        <p14:creationId xmlns:p14="http://schemas.microsoft.com/office/powerpoint/2010/main" val="787043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7684E6-B0AA-4472-A6F0-AD36F13DF0CA}"/>
              </a:ext>
            </a:extLst>
          </p:cNvPr>
          <p:cNvSpPr>
            <a:spLocks noGrp="1"/>
          </p:cNvSpPr>
          <p:nvPr>
            <p:ph type="title"/>
          </p:nvPr>
        </p:nvSpPr>
        <p:spPr/>
        <p:txBody>
          <a:bodyPr/>
          <a:lstStyle/>
          <a:p>
            <a:r>
              <a:rPr lang="en-US" sz="4488" dirty="0"/>
              <a:t>https://www.mooc-list.com/tags/microsoft-azure</a:t>
            </a:r>
          </a:p>
        </p:txBody>
      </p:sp>
      <p:pic>
        <p:nvPicPr>
          <p:cNvPr id="4" name="Picture 3">
            <a:extLst>
              <a:ext uri="{FF2B5EF4-FFF2-40B4-BE49-F238E27FC236}">
                <a16:creationId xmlns:a16="http://schemas.microsoft.com/office/drawing/2014/main" id="{E32A90DE-6003-4F19-A417-5219638CA475}"/>
              </a:ext>
            </a:extLst>
          </p:cNvPr>
          <p:cNvPicPr>
            <a:picLocks noChangeAspect="1"/>
          </p:cNvPicPr>
          <p:nvPr/>
        </p:nvPicPr>
        <p:blipFill>
          <a:blip r:embed="rId3"/>
          <a:stretch>
            <a:fillRect/>
          </a:stretch>
        </p:blipFill>
        <p:spPr>
          <a:xfrm>
            <a:off x="881" y="1170840"/>
            <a:ext cx="12434433" cy="8289622"/>
          </a:xfrm>
          <a:prstGeom prst="rect">
            <a:avLst/>
          </a:prstGeom>
        </p:spPr>
      </p:pic>
    </p:spTree>
    <p:extLst>
      <p:ext uri="{BB962C8B-B14F-4D97-AF65-F5344CB8AC3E}">
        <p14:creationId xmlns:p14="http://schemas.microsoft.com/office/powerpoint/2010/main" val="8757142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9D2949-7FDA-41FF-BDA3-E9BA8F5EF7DF}"/>
              </a:ext>
            </a:extLst>
          </p:cNvPr>
          <p:cNvSpPr>
            <a:spLocks noGrp="1"/>
          </p:cNvSpPr>
          <p:nvPr>
            <p:ph type="title"/>
          </p:nvPr>
        </p:nvSpPr>
        <p:spPr/>
        <p:txBody>
          <a:bodyPr/>
          <a:lstStyle/>
          <a:p>
            <a:r>
              <a:rPr lang="en-US" dirty="0"/>
              <a:t>https://www.microsoft.com/handsonlabs</a:t>
            </a:r>
          </a:p>
        </p:txBody>
      </p:sp>
      <p:pic>
        <p:nvPicPr>
          <p:cNvPr id="4" name="Picture 3">
            <a:extLst>
              <a:ext uri="{FF2B5EF4-FFF2-40B4-BE49-F238E27FC236}">
                <a16:creationId xmlns:a16="http://schemas.microsoft.com/office/drawing/2014/main" id="{0D4738CE-D27A-440E-BDA0-734390ED0221}"/>
              </a:ext>
            </a:extLst>
          </p:cNvPr>
          <p:cNvPicPr>
            <a:picLocks noChangeAspect="1"/>
          </p:cNvPicPr>
          <p:nvPr/>
        </p:nvPicPr>
        <p:blipFill rotWithShape="1">
          <a:blip r:embed="rId3"/>
          <a:srcRect t="12448" r="54250"/>
          <a:stretch/>
        </p:blipFill>
        <p:spPr>
          <a:xfrm>
            <a:off x="882" y="1146553"/>
            <a:ext cx="12434711" cy="7254987"/>
          </a:xfrm>
          <a:prstGeom prst="rect">
            <a:avLst/>
          </a:prstGeom>
        </p:spPr>
      </p:pic>
    </p:spTree>
    <p:extLst>
      <p:ext uri="{BB962C8B-B14F-4D97-AF65-F5344CB8AC3E}">
        <p14:creationId xmlns:p14="http://schemas.microsoft.com/office/powerpoint/2010/main" val="21046014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982195-A483-4BEB-812B-8040FFF66EEE}"/>
              </a:ext>
            </a:extLst>
          </p:cNvPr>
          <p:cNvSpPr>
            <a:spLocks noGrp="1"/>
          </p:cNvSpPr>
          <p:nvPr>
            <p:ph type="title"/>
          </p:nvPr>
        </p:nvSpPr>
        <p:spPr/>
        <p:txBody>
          <a:bodyPr/>
          <a:lstStyle/>
          <a:p>
            <a:r>
              <a:rPr lang="en-US" dirty="0"/>
              <a:t>Azure Sample Architectures</a:t>
            </a:r>
            <a:br>
              <a:rPr lang="en-US" dirty="0"/>
            </a:br>
            <a:r>
              <a:rPr lang="en-US" sz="3672" dirty="0"/>
              <a:t>https://azure.microsoft.com/en-us/solutions/architecture/</a:t>
            </a:r>
            <a:endParaRPr lang="en-US" dirty="0"/>
          </a:p>
        </p:txBody>
      </p:sp>
      <p:pic>
        <p:nvPicPr>
          <p:cNvPr id="4" name="Picture 3">
            <a:extLst>
              <a:ext uri="{FF2B5EF4-FFF2-40B4-BE49-F238E27FC236}">
                <a16:creationId xmlns:a16="http://schemas.microsoft.com/office/drawing/2014/main" id="{87DDF9FC-A893-400B-965D-F5224EA38C2F}"/>
              </a:ext>
            </a:extLst>
          </p:cNvPr>
          <p:cNvPicPr>
            <a:picLocks noChangeAspect="1"/>
          </p:cNvPicPr>
          <p:nvPr/>
        </p:nvPicPr>
        <p:blipFill rotWithShape="1">
          <a:blip r:embed="rId3"/>
          <a:srcRect t="22342"/>
          <a:stretch/>
        </p:blipFill>
        <p:spPr>
          <a:xfrm>
            <a:off x="881" y="1655162"/>
            <a:ext cx="12560933" cy="6503017"/>
          </a:xfrm>
          <a:prstGeom prst="rect">
            <a:avLst/>
          </a:prstGeom>
        </p:spPr>
      </p:pic>
    </p:spTree>
    <p:extLst>
      <p:ext uri="{BB962C8B-B14F-4D97-AF65-F5344CB8AC3E}">
        <p14:creationId xmlns:p14="http://schemas.microsoft.com/office/powerpoint/2010/main" val="1229598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6F95-F3E3-43BA-8976-8731F1BBE726}"/>
              </a:ext>
            </a:extLst>
          </p:cNvPr>
          <p:cNvSpPr>
            <a:spLocks noGrp="1"/>
          </p:cNvSpPr>
          <p:nvPr>
            <p:ph type="title"/>
          </p:nvPr>
        </p:nvSpPr>
        <p:spPr/>
        <p:txBody>
          <a:bodyPr/>
          <a:lstStyle/>
          <a:p>
            <a:r>
              <a:rPr lang="en-US" dirty="0"/>
              <a:t>Azure Migration Tools</a:t>
            </a:r>
          </a:p>
        </p:txBody>
      </p:sp>
      <p:sp>
        <p:nvSpPr>
          <p:cNvPr id="4" name="Rectangle 3">
            <a:extLst>
              <a:ext uri="{FF2B5EF4-FFF2-40B4-BE49-F238E27FC236}">
                <a16:creationId xmlns:a16="http://schemas.microsoft.com/office/drawing/2014/main" id="{263C0ABD-32ED-4981-A190-3ED921ADDFBB}"/>
              </a:ext>
            </a:extLst>
          </p:cNvPr>
          <p:cNvSpPr/>
          <p:nvPr/>
        </p:nvSpPr>
        <p:spPr bwMode="auto">
          <a:xfrm>
            <a:off x="308817" y="1481934"/>
            <a:ext cx="2742031" cy="2297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1" tIns="137101" rIns="182802" bIns="137101" numCol="1" spcCol="0" rtlCol="0" fromWordArt="0" anchor="ctr" anchorCtr="0" forceAA="0" compatLnSpc="1">
            <a:prstTxWarp prst="textNoShape">
              <a:avLst/>
            </a:prstTxWarp>
            <a:noAutofit/>
          </a:bodyPr>
          <a:lstStyle/>
          <a:p>
            <a:pPr defTabSz="932418" fontAlgn="base">
              <a:lnSpc>
                <a:spcPct val="90000"/>
              </a:lnSpc>
              <a:spcBef>
                <a:spcPct val="0"/>
              </a:spcBef>
              <a:spcAft>
                <a:spcPct val="0"/>
              </a:spcAft>
              <a:defRPr/>
            </a:pPr>
            <a:r>
              <a:rPr lang="en-US" sz="2448" b="1">
                <a:solidFill>
                  <a:srgbClr val="353535"/>
                </a:solidFill>
                <a:latin typeface="Segoe UI" panose="020B0502040204020203" pitchFamily="34" charset="0"/>
                <a:ea typeface="Segoe UI" panose="020B0502040204020203" pitchFamily="34" charset="0"/>
                <a:cs typeface="Segoe UI" panose="020B0502040204020203" pitchFamily="34" charset="0"/>
              </a:rPr>
              <a:t>Microsoft</a:t>
            </a:r>
          </a:p>
        </p:txBody>
      </p:sp>
      <p:sp>
        <p:nvSpPr>
          <p:cNvPr id="5" name="Rectangle 4">
            <a:extLst>
              <a:ext uri="{FF2B5EF4-FFF2-40B4-BE49-F238E27FC236}">
                <a16:creationId xmlns:a16="http://schemas.microsoft.com/office/drawing/2014/main" id="{616F1405-9AB3-4ACA-95C5-68C933F5DF48}"/>
              </a:ext>
            </a:extLst>
          </p:cNvPr>
          <p:cNvSpPr/>
          <p:nvPr/>
        </p:nvSpPr>
        <p:spPr bwMode="auto">
          <a:xfrm>
            <a:off x="308817" y="4172259"/>
            <a:ext cx="2742031" cy="2297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1" tIns="137101" rIns="182802" bIns="137101" numCol="1" spcCol="0" rtlCol="0" fromWordArt="0" anchor="ctr" anchorCtr="0" forceAA="0" compatLnSpc="1">
            <a:prstTxWarp prst="textNoShape">
              <a:avLst/>
            </a:prstTxWarp>
            <a:noAutofit/>
          </a:bodyPr>
          <a:lstStyle/>
          <a:p>
            <a:pPr defTabSz="932418" fontAlgn="base">
              <a:lnSpc>
                <a:spcPct val="90000"/>
              </a:lnSpc>
              <a:spcBef>
                <a:spcPct val="0"/>
              </a:spcBef>
              <a:spcAft>
                <a:spcPct val="0"/>
              </a:spcAft>
              <a:defRPr/>
            </a:pPr>
            <a:r>
              <a:rPr lang="en-US" sz="2448" b="1">
                <a:solidFill>
                  <a:srgbClr val="353535"/>
                </a:solidFill>
                <a:latin typeface="Segoe UI" panose="020B0502040204020203" pitchFamily="34" charset="0"/>
                <a:ea typeface="Segoe UI" panose="020B0502040204020203" pitchFamily="34" charset="0"/>
                <a:cs typeface="Segoe UI" panose="020B0502040204020203" pitchFamily="34" charset="0"/>
              </a:rPr>
              <a:t>Partners</a:t>
            </a:r>
          </a:p>
        </p:txBody>
      </p:sp>
      <p:sp>
        <p:nvSpPr>
          <p:cNvPr id="6" name="TextBox 5">
            <a:extLst>
              <a:ext uri="{FF2B5EF4-FFF2-40B4-BE49-F238E27FC236}">
                <a16:creationId xmlns:a16="http://schemas.microsoft.com/office/drawing/2014/main" id="{56F0C856-200B-46BF-B82F-260590B7CA12}"/>
              </a:ext>
            </a:extLst>
          </p:cNvPr>
          <p:cNvSpPr txBox="1"/>
          <p:nvPr/>
        </p:nvSpPr>
        <p:spPr>
          <a:xfrm>
            <a:off x="6939467" y="2304047"/>
            <a:ext cx="2226577" cy="1374964"/>
          </a:xfrm>
          <a:prstGeom prst="rect">
            <a:avLst/>
          </a:prstGeom>
          <a:noFill/>
        </p:spPr>
        <p:txBody>
          <a:bodyPr wrap="square" rtlCol="0">
            <a:spAutoFit/>
          </a:bodyPr>
          <a:lstStyle/>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Azure Site</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Recovery</a:t>
            </a:r>
          </a:p>
          <a:p>
            <a:pPr algn="ctr" defTabSz="932418">
              <a:defRPr/>
            </a:pPr>
            <a:endParaRPr lang="en-US" sz="1632">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Database Migration</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Service</a:t>
            </a:r>
          </a:p>
        </p:txBody>
      </p:sp>
      <p:pic>
        <p:nvPicPr>
          <p:cNvPr id="7" name="Picture 6">
            <a:extLst>
              <a:ext uri="{FF2B5EF4-FFF2-40B4-BE49-F238E27FC236}">
                <a16:creationId xmlns:a16="http://schemas.microsoft.com/office/drawing/2014/main" id="{ED3CFAF3-675D-403F-AF68-06CEC075C962}"/>
              </a:ext>
            </a:extLst>
          </p:cNvPr>
          <p:cNvPicPr>
            <a:picLocks noGrp="1" noChangeAspect="1" noChangeArrowheads="1"/>
          </p:cNvPicPr>
          <p:nvPr/>
        </p:nvPicPr>
        <p:blipFill rotWithShape="1">
          <a:blip r:embed="rId3" cstate="print">
            <a:extLst>
              <a:ext uri="{28A0092B-C50C-407E-A947-70E740481C1C}">
                <a14:useLocalDpi xmlns:a14="http://schemas.microsoft.com/office/drawing/2010/main" val="0"/>
              </a:ext>
            </a:extLst>
          </a:blip>
          <a:srcRect l="-6192"/>
          <a:stretch/>
        </p:blipFill>
        <p:spPr>
          <a:xfrm>
            <a:off x="8406490" y="6377926"/>
            <a:ext cx="1009826" cy="319283"/>
          </a:xfrm>
          <a:prstGeom prst="rect">
            <a:avLst/>
          </a:prstGeom>
        </p:spPr>
      </p:pic>
      <p:pic>
        <p:nvPicPr>
          <p:cNvPr id="8" name="Picture 7">
            <a:extLst>
              <a:ext uri="{FF2B5EF4-FFF2-40B4-BE49-F238E27FC236}">
                <a16:creationId xmlns:a16="http://schemas.microsoft.com/office/drawing/2014/main" id="{4E9B9E3B-24EE-4F7F-9AA1-EB6629B29E0E}"/>
              </a:ext>
            </a:extLst>
          </p:cNvPr>
          <p:cNvPicPr>
            <a:picLocks noGrp="1"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44829" y="6383230"/>
            <a:ext cx="1197284" cy="308674"/>
          </a:xfrm>
          <a:prstGeom prst="rect">
            <a:avLst/>
          </a:prstGeom>
        </p:spPr>
      </p:pic>
      <p:sp>
        <p:nvSpPr>
          <p:cNvPr id="9" name="TextBox 8">
            <a:extLst>
              <a:ext uri="{FF2B5EF4-FFF2-40B4-BE49-F238E27FC236}">
                <a16:creationId xmlns:a16="http://schemas.microsoft.com/office/drawing/2014/main" id="{36F9CEB3-8F2A-48CA-AAD7-104AEACD4C9D}"/>
              </a:ext>
            </a:extLst>
          </p:cNvPr>
          <p:cNvSpPr txBox="1"/>
          <p:nvPr/>
        </p:nvSpPr>
        <p:spPr>
          <a:xfrm>
            <a:off x="10162886" y="2299486"/>
            <a:ext cx="1966786" cy="862524"/>
          </a:xfrm>
          <a:prstGeom prst="rect">
            <a:avLst/>
          </a:prstGeom>
          <a:noFill/>
        </p:spPr>
        <p:txBody>
          <a:bodyPr wrap="none" rtlCol="0">
            <a:spAutoFit/>
          </a:bodyPr>
          <a:lstStyle/>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Operations </a:t>
            </a:r>
          </a:p>
          <a:p>
            <a:pPr algn="ctr" defTabSz="932418">
              <a:defRPr/>
            </a:pPr>
            <a:r>
              <a:rPr lang="en-US" sz="1632">
                <a:solidFill>
                  <a:srgbClr val="002050"/>
                </a:solidFill>
                <a:latin typeface="Segoe UI" panose="020B0502040204020203" pitchFamily="34" charset="0"/>
                <a:ea typeface="Segoe UI" panose="020B0502040204020203" pitchFamily="34" charset="0"/>
                <a:cs typeface="Segoe UI" panose="020B0502040204020203" pitchFamily="34" charset="0"/>
              </a:rPr>
              <a:t>Management Suite</a:t>
            </a:r>
          </a:p>
          <a:p>
            <a:pPr algn="ctr" defTabSz="932418">
              <a:defRPr/>
            </a:pPr>
            <a:endParaRPr lang="en-US" sz="1632">
              <a:solidFill>
                <a:srgbClr val="002050"/>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 name="Picture 9" descr="A picture containing object&#10;&#10;Description generated with high confidence">
            <a:extLst>
              <a:ext uri="{FF2B5EF4-FFF2-40B4-BE49-F238E27FC236}">
                <a16:creationId xmlns:a16="http://schemas.microsoft.com/office/drawing/2014/main" id="{7509C649-563A-44CA-8D88-F28E0E82EB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2454" y="5226840"/>
            <a:ext cx="1566647" cy="394795"/>
          </a:xfrm>
          <a:prstGeom prst="rect">
            <a:avLst/>
          </a:prstGeom>
        </p:spPr>
      </p:pic>
      <p:pic>
        <p:nvPicPr>
          <p:cNvPr id="11" name="Picture 10">
            <a:extLst>
              <a:ext uri="{FF2B5EF4-FFF2-40B4-BE49-F238E27FC236}">
                <a16:creationId xmlns:a16="http://schemas.microsoft.com/office/drawing/2014/main" id="{2DD01D9C-85EB-4A0A-9D26-CFAD82BB6A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6360" y="3168643"/>
            <a:ext cx="785928" cy="557188"/>
          </a:xfrm>
          <a:prstGeom prst="rect">
            <a:avLst/>
          </a:prstGeom>
        </p:spPr>
      </p:pic>
      <p:pic>
        <p:nvPicPr>
          <p:cNvPr id="12" name="Picture 11">
            <a:extLst>
              <a:ext uri="{FF2B5EF4-FFF2-40B4-BE49-F238E27FC236}">
                <a16:creationId xmlns:a16="http://schemas.microsoft.com/office/drawing/2014/main" id="{3CDBE05A-F758-442B-926C-338F2FE5A0EA}"/>
              </a:ext>
            </a:extLst>
          </p:cNvPr>
          <p:cNvPicPr>
            <a:picLocks noChangeAspect="1"/>
          </p:cNvPicPr>
          <p:nvPr/>
        </p:nvPicPr>
        <p:blipFill>
          <a:blip r:embed="rId7"/>
          <a:stretch>
            <a:fillRect/>
          </a:stretch>
        </p:blipFill>
        <p:spPr>
          <a:xfrm>
            <a:off x="10356513" y="4501895"/>
            <a:ext cx="1414542" cy="557496"/>
          </a:xfrm>
          <a:prstGeom prst="rect">
            <a:avLst/>
          </a:prstGeom>
        </p:spPr>
      </p:pic>
      <p:cxnSp>
        <p:nvCxnSpPr>
          <p:cNvPr id="13" name="Straight Connector 12">
            <a:extLst>
              <a:ext uri="{FF2B5EF4-FFF2-40B4-BE49-F238E27FC236}">
                <a16:creationId xmlns:a16="http://schemas.microsoft.com/office/drawing/2014/main" id="{462F964E-1CE1-4047-A99E-AD0E0FF39857}"/>
              </a:ext>
            </a:extLst>
          </p:cNvPr>
          <p:cNvCxnSpPr/>
          <p:nvPr/>
        </p:nvCxnSpPr>
        <p:spPr>
          <a:xfrm flipV="1">
            <a:off x="6496810" y="2119837"/>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7E549-706D-4E70-A4D3-12CEA37F53E4}"/>
              </a:ext>
            </a:extLst>
          </p:cNvPr>
          <p:cNvCxnSpPr/>
          <p:nvPr/>
        </p:nvCxnSpPr>
        <p:spPr>
          <a:xfrm flipV="1">
            <a:off x="9654972" y="2119837"/>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2DBFC5-279D-4625-A576-DA1DFBB3AD63}"/>
              </a:ext>
            </a:extLst>
          </p:cNvPr>
          <p:cNvCxnSpPr/>
          <p:nvPr/>
        </p:nvCxnSpPr>
        <p:spPr>
          <a:xfrm flipV="1">
            <a:off x="6496810" y="4388651"/>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E167D-99BD-4C18-B62D-A471E844D2DB}"/>
              </a:ext>
            </a:extLst>
          </p:cNvPr>
          <p:cNvCxnSpPr/>
          <p:nvPr/>
        </p:nvCxnSpPr>
        <p:spPr>
          <a:xfrm flipV="1">
            <a:off x="9654972" y="4388651"/>
            <a:ext cx="0" cy="1861225"/>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DC553C-5E61-4ABD-BC04-F23C55F6902C}"/>
              </a:ext>
            </a:extLst>
          </p:cNvPr>
          <p:cNvSpPr txBox="1"/>
          <p:nvPr/>
        </p:nvSpPr>
        <p:spPr>
          <a:xfrm>
            <a:off x="3642340" y="1193865"/>
            <a:ext cx="2001702" cy="414295"/>
          </a:xfrm>
          <a:prstGeom prst="rect">
            <a:avLst/>
          </a:prstGeom>
          <a:noFill/>
        </p:spPr>
        <p:txBody>
          <a:bodyPr wrap="square" rtlCol="0">
            <a:spAutoFit/>
          </a:bodyPr>
          <a:lstStyle/>
          <a:p>
            <a:pPr algn="ctr" defTabSz="932418">
              <a:defRPr/>
            </a:pPr>
            <a:r>
              <a:rPr lang="en-US" sz="2040" b="1">
                <a:solidFill>
                  <a:srgbClr val="353535"/>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8" name="TextBox 17">
            <a:extLst>
              <a:ext uri="{FF2B5EF4-FFF2-40B4-BE49-F238E27FC236}">
                <a16:creationId xmlns:a16="http://schemas.microsoft.com/office/drawing/2014/main" id="{08E877D3-D727-45FB-BFAF-3670AC3E88F2}"/>
              </a:ext>
            </a:extLst>
          </p:cNvPr>
          <p:cNvSpPr txBox="1"/>
          <p:nvPr/>
        </p:nvSpPr>
        <p:spPr>
          <a:xfrm>
            <a:off x="6939467" y="1199512"/>
            <a:ext cx="2226576" cy="41429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defTabSz="932563">
              <a:defRPr/>
            </a:pPr>
            <a:r>
              <a:rPr lang="en-US" sz="2040">
                <a:solidFill>
                  <a:srgbClr val="353535"/>
                </a:solidFill>
              </a:rPr>
              <a:t>Migrate</a:t>
            </a:r>
          </a:p>
        </p:txBody>
      </p:sp>
      <p:sp>
        <p:nvSpPr>
          <p:cNvPr id="19" name="TextBox 18">
            <a:extLst>
              <a:ext uri="{FF2B5EF4-FFF2-40B4-BE49-F238E27FC236}">
                <a16:creationId xmlns:a16="http://schemas.microsoft.com/office/drawing/2014/main" id="{7754839E-0ECE-49BF-86D2-A246EE74749C}"/>
              </a:ext>
            </a:extLst>
          </p:cNvPr>
          <p:cNvSpPr txBox="1"/>
          <p:nvPr/>
        </p:nvSpPr>
        <p:spPr>
          <a:xfrm>
            <a:off x="10180835" y="1191915"/>
            <a:ext cx="1956981" cy="41429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defTabSz="932563">
              <a:defRPr/>
            </a:pPr>
            <a:r>
              <a:rPr lang="en-US" sz="2040">
                <a:solidFill>
                  <a:srgbClr val="353535"/>
                </a:solidFill>
              </a:rPr>
              <a:t>Optimize</a:t>
            </a:r>
          </a:p>
        </p:txBody>
      </p:sp>
      <p:pic>
        <p:nvPicPr>
          <p:cNvPr id="20" name="Picture 19" descr="A picture containing thing, object&#10;&#10;Description generated with high confidence">
            <a:extLst>
              <a:ext uri="{FF2B5EF4-FFF2-40B4-BE49-F238E27FC236}">
                <a16:creationId xmlns:a16="http://schemas.microsoft.com/office/drawing/2014/main" id="{D76C8221-9BFD-458D-B3DD-F0A6CCEE15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90513" y="4667712"/>
            <a:ext cx="1799378" cy="225863"/>
          </a:xfrm>
          <a:prstGeom prst="rect">
            <a:avLst/>
          </a:prstGeom>
        </p:spPr>
      </p:pic>
      <p:pic>
        <p:nvPicPr>
          <p:cNvPr id="21" name="Picture 20">
            <a:extLst>
              <a:ext uri="{FF2B5EF4-FFF2-40B4-BE49-F238E27FC236}">
                <a16:creationId xmlns:a16="http://schemas.microsoft.com/office/drawing/2014/main" id="{70FB0794-FDF1-4C1F-B293-7CCB7C82C5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60803" y="5865489"/>
            <a:ext cx="965337" cy="262677"/>
          </a:xfrm>
          <a:prstGeom prst="rect">
            <a:avLst/>
          </a:prstGeom>
        </p:spPr>
      </p:pic>
      <p:pic>
        <p:nvPicPr>
          <p:cNvPr id="22" name="Graphic 21">
            <a:extLst>
              <a:ext uri="{FF2B5EF4-FFF2-40B4-BE49-F238E27FC236}">
                <a16:creationId xmlns:a16="http://schemas.microsoft.com/office/drawing/2014/main" id="{DF947DAF-80BD-471F-9E67-3BD236A284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7907" y="5899717"/>
            <a:ext cx="1108409" cy="194223"/>
          </a:xfrm>
          <a:prstGeom prst="rect">
            <a:avLst/>
          </a:prstGeom>
        </p:spPr>
      </p:pic>
      <p:pic>
        <p:nvPicPr>
          <p:cNvPr id="23" name="Picture 22">
            <a:extLst>
              <a:ext uri="{FF2B5EF4-FFF2-40B4-BE49-F238E27FC236}">
                <a16:creationId xmlns:a16="http://schemas.microsoft.com/office/drawing/2014/main" id="{A79521F1-E1AD-4241-86E2-70ADCD0314E0}"/>
              </a:ext>
            </a:extLst>
          </p:cNvPr>
          <p:cNvPicPr>
            <a:picLocks noChangeAspect="1"/>
          </p:cNvPicPr>
          <p:nvPr/>
        </p:nvPicPr>
        <p:blipFill>
          <a:blip r:embed="rId12"/>
          <a:stretch>
            <a:fillRect/>
          </a:stretch>
        </p:blipFill>
        <p:spPr>
          <a:xfrm>
            <a:off x="4928151" y="5829773"/>
            <a:ext cx="1167105" cy="334111"/>
          </a:xfrm>
          <a:prstGeom prst="rect">
            <a:avLst/>
          </a:prstGeom>
        </p:spPr>
      </p:pic>
      <p:pic>
        <p:nvPicPr>
          <p:cNvPr id="24" name="Picture 23" descr="A picture containing object, building, thing, light&#10;&#10;Description generated with very high confidence">
            <a:extLst>
              <a:ext uri="{FF2B5EF4-FFF2-40B4-BE49-F238E27FC236}">
                <a16:creationId xmlns:a16="http://schemas.microsoft.com/office/drawing/2014/main" id="{305CB6ED-7DB8-406E-9F2B-E3FB450E341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61972" y="4662948"/>
            <a:ext cx="1689761" cy="235390"/>
          </a:xfrm>
          <a:prstGeom prst="rect">
            <a:avLst/>
          </a:prstGeom>
        </p:spPr>
      </p:pic>
      <p:pic>
        <p:nvPicPr>
          <p:cNvPr id="25" name="Picture 24">
            <a:extLst>
              <a:ext uri="{FF2B5EF4-FFF2-40B4-BE49-F238E27FC236}">
                <a16:creationId xmlns:a16="http://schemas.microsoft.com/office/drawing/2014/main" id="{F105FE5D-4F70-42A3-856B-FA6C72DA268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23969" y="5151714"/>
            <a:ext cx="1831711" cy="545046"/>
          </a:xfrm>
          <a:prstGeom prst="rect">
            <a:avLst/>
          </a:prstGeom>
        </p:spPr>
      </p:pic>
      <p:pic>
        <p:nvPicPr>
          <p:cNvPr id="26" name="Picture 25" descr="A picture containing indoor, computer, thing&#10;&#10;Description generated with high confidence">
            <a:extLst>
              <a:ext uri="{FF2B5EF4-FFF2-40B4-BE49-F238E27FC236}">
                <a16:creationId xmlns:a16="http://schemas.microsoft.com/office/drawing/2014/main" id="{CD730BA7-02FD-4590-9E30-756A5D46439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62544" y="5243889"/>
            <a:ext cx="1670599" cy="360697"/>
          </a:xfrm>
          <a:prstGeom prst="rect">
            <a:avLst/>
          </a:prstGeom>
        </p:spPr>
      </p:pic>
      <p:pic>
        <p:nvPicPr>
          <p:cNvPr id="27" name="Picture 26" descr="A close up of a traffic light&#10;&#10;Description generated with high confidence">
            <a:extLst>
              <a:ext uri="{FF2B5EF4-FFF2-40B4-BE49-F238E27FC236}">
                <a16:creationId xmlns:a16="http://schemas.microsoft.com/office/drawing/2014/main" id="{27ED15E8-E423-4EE9-88DF-2825F14A14B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3725" y="5835047"/>
            <a:ext cx="1578350" cy="323561"/>
          </a:xfrm>
          <a:prstGeom prst="rect">
            <a:avLst/>
          </a:prstGeom>
        </p:spPr>
      </p:pic>
      <p:pic>
        <p:nvPicPr>
          <p:cNvPr id="29" name="Picture 28">
            <a:extLst>
              <a:ext uri="{FF2B5EF4-FFF2-40B4-BE49-F238E27FC236}">
                <a16:creationId xmlns:a16="http://schemas.microsoft.com/office/drawing/2014/main" id="{A6AC9A65-5DAF-4C72-AFB2-F1A99817297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20641" y="5097235"/>
            <a:ext cx="1962005" cy="654001"/>
          </a:xfrm>
          <a:prstGeom prst="rect">
            <a:avLst/>
          </a:prstGeom>
        </p:spPr>
      </p:pic>
      <p:sp>
        <p:nvSpPr>
          <p:cNvPr id="30" name="TextBox 29">
            <a:extLst>
              <a:ext uri="{FF2B5EF4-FFF2-40B4-BE49-F238E27FC236}">
                <a16:creationId xmlns:a16="http://schemas.microsoft.com/office/drawing/2014/main" id="{8B2A8574-FFF2-470F-A416-06F861292A41}"/>
              </a:ext>
            </a:extLst>
          </p:cNvPr>
          <p:cNvSpPr txBox="1"/>
          <p:nvPr/>
        </p:nvSpPr>
        <p:spPr>
          <a:xfrm>
            <a:off x="3399238" y="2299485"/>
            <a:ext cx="2653745" cy="1887281"/>
          </a:xfrm>
          <a:prstGeom prst="rect">
            <a:avLst/>
          </a:prstGeom>
          <a:noFill/>
        </p:spPr>
        <p:txBody>
          <a:bodyPr wrap="square" rtlCol="0">
            <a:spAutoFit/>
          </a:bodyPr>
          <a:lstStyle/>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Microsoft Assessment and Planning (MAP) Toolkit</a:t>
            </a:r>
          </a:p>
          <a:p>
            <a:pPr algn="ctr" defTabSz="932418">
              <a:defRPr/>
            </a:pPr>
            <a:endPar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Azure Migrate</a:t>
            </a:r>
          </a:p>
          <a:p>
            <a:pPr algn="ctr" defTabSz="932418">
              <a:defRPr/>
            </a:pPr>
            <a:endPar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Database Migration</a:t>
            </a:r>
          </a:p>
          <a:p>
            <a:pPr algn="ctr" defTabSz="932418">
              <a:defRPr/>
            </a:pPr>
            <a:r>
              <a:rPr lang="en-US" sz="1632" dirty="0">
                <a:solidFill>
                  <a:srgbClr val="002050"/>
                </a:solidFill>
                <a:latin typeface="Segoe UI" panose="020B0502040204020203" pitchFamily="34" charset="0"/>
                <a:ea typeface="Segoe UI" panose="020B0502040204020203" pitchFamily="34" charset="0"/>
                <a:cs typeface="Segoe UI" panose="020B0502040204020203" pitchFamily="34" charset="0"/>
              </a:rPr>
              <a:t>Assistant</a:t>
            </a:r>
          </a:p>
        </p:txBody>
      </p:sp>
      <p:sp>
        <p:nvSpPr>
          <p:cNvPr id="32" name="Rectangle 31">
            <a:extLst>
              <a:ext uri="{FF2B5EF4-FFF2-40B4-BE49-F238E27FC236}">
                <a16:creationId xmlns:a16="http://schemas.microsoft.com/office/drawing/2014/main" id="{6B6C98C5-AF27-408A-B141-2BD84B086369}"/>
              </a:ext>
            </a:extLst>
          </p:cNvPr>
          <p:cNvSpPr/>
          <p:nvPr/>
        </p:nvSpPr>
        <p:spPr>
          <a:xfrm>
            <a:off x="8580102" y="2929339"/>
            <a:ext cx="1084080" cy="345163"/>
          </a:xfrm>
          <a:prstGeom prst="rect">
            <a:avLst/>
          </a:prstGeom>
        </p:spPr>
        <p:txBody>
          <a:bodyPr wrap="none" anchor="t">
            <a:spAutoFit/>
          </a:bodyPr>
          <a:lstStyle/>
          <a:p>
            <a:pPr defTabSz="932563">
              <a:defRPr/>
            </a:pPr>
            <a:r>
              <a:rPr lang="en-US" sz="1599" b="1" baseline="30000">
                <a:solidFill>
                  <a:srgbClr val="00B050"/>
                </a:solidFill>
                <a:latin typeface="Segoe UI Semilight"/>
              </a:rPr>
              <a:t>Public Preview</a:t>
            </a:r>
            <a:r>
              <a:rPr lang="en-US" sz="1599" baseline="30000">
                <a:solidFill>
                  <a:srgbClr val="FFB900"/>
                </a:solidFill>
                <a:latin typeface="Segoe UI Semilight"/>
              </a:rPr>
              <a:t> </a:t>
            </a:r>
            <a:endParaRPr lang="en-US" sz="1599">
              <a:solidFill>
                <a:srgbClr val="353535"/>
              </a:solidFill>
              <a:latin typeface="Segoe UI Semilight"/>
              <a:cs typeface="Segoe UI Semilight"/>
            </a:endParaRPr>
          </a:p>
        </p:txBody>
      </p:sp>
      <p:pic>
        <p:nvPicPr>
          <p:cNvPr id="33" name="Picture 32">
            <a:extLst>
              <a:ext uri="{FF2B5EF4-FFF2-40B4-BE49-F238E27FC236}">
                <a16:creationId xmlns:a16="http://schemas.microsoft.com/office/drawing/2014/main" id="{6CE58330-6A93-4CFC-A180-A39E88087305}"/>
              </a:ext>
            </a:extLst>
          </p:cNvPr>
          <p:cNvPicPr>
            <a:picLocks noChangeAspect="1"/>
          </p:cNvPicPr>
          <p:nvPr/>
        </p:nvPicPr>
        <p:blipFill>
          <a:blip r:embed="rId18"/>
          <a:stretch>
            <a:fillRect/>
          </a:stretch>
        </p:blipFill>
        <p:spPr>
          <a:xfrm>
            <a:off x="4860812" y="4634632"/>
            <a:ext cx="1396627" cy="292022"/>
          </a:xfrm>
          <a:prstGeom prst="rect">
            <a:avLst/>
          </a:prstGeom>
        </p:spPr>
      </p:pic>
    </p:spTree>
    <p:extLst>
      <p:ext uri="{BB962C8B-B14F-4D97-AF65-F5344CB8AC3E}">
        <p14:creationId xmlns:p14="http://schemas.microsoft.com/office/powerpoint/2010/main" val="817209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7.potx" id="{74CDA74B-640B-43EE-A0D9-EE8C8780DB95}" vid="{F6E47E9A-5C16-40B4-A2E3-BD5986C5FE47}"/>
    </a:ext>
  </a:extLst>
</a:theme>
</file>

<file path=ppt/theme/theme10.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1.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2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10_Office Theme">
  <a:themeElements>
    <a:clrScheme name="Custom 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0206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SVID_White_16x9_2012-08-18">
  <a:themeElements>
    <a:clrScheme name="Custom 1">
      <a:dk1>
        <a:srgbClr val="000000"/>
      </a:dk1>
      <a:lt1>
        <a:srgbClr val="FFFFFF"/>
      </a:lt1>
      <a:dk2>
        <a:srgbClr val="505050"/>
      </a:dk2>
      <a:lt2>
        <a:srgbClr val="737373"/>
      </a:lt2>
      <a:accent1>
        <a:srgbClr val="5C2D91"/>
      </a:accent1>
      <a:accent2>
        <a:srgbClr val="00188F"/>
      </a:accent2>
      <a:accent3>
        <a:srgbClr val="002050"/>
      </a:accent3>
      <a:accent4>
        <a:srgbClr val="0078D7"/>
      </a:accent4>
      <a:accent5>
        <a:srgbClr val="FF8C00"/>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4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8.xml><?xml version="1.0" encoding="utf-8"?>
<a:theme xmlns:a="http://schemas.openxmlformats.org/drawingml/2006/main" name="2_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9.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57</Words>
  <Application>Microsoft Office PowerPoint</Application>
  <PresentationFormat>Custom</PresentationFormat>
  <Paragraphs>114</Paragraphs>
  <Slides>12</Slides>
  <Notes>10</Notes>
  <HiddenSlides>0</HiddenSlides>
  <MMClips>0</MMClips>
  <ScaleCrop>false</ScaleCrop>
  <HeadingPairs>
    <vt:vector size="8" baseType="variant">
      <vt:variant>
        <vt:lpstr>Fonts Used</vt:lpstr>
      </vt:variant>
      <vt:variant>
        <vt:i4>9</vt:i4>
      </vt:variant>
      <vt:variant>
        <vt:lpstr>Theme</vt:lpstr>
      </vt:variant>
      <vt:variant>
        <vt:i4>14</vt:i4>
      </vt:variant>
      <vt:variant>
        <vt:lpstr>Embedded OLE Servers</vt:lpstr>
      </vt:variant>
      <vt:variant>
        <vt:i4>1</vt:i4>
      </vt:variant>
      <vt:variant>
        <vt:lpstr>Slide Titles</vt:lpstr>
      </vt:variant>
      <vt:variant>
        <vt:i4>12</vt:i4>
      </vt:variant>
    </vt:vector>
  </HeadingPairs>
  <TitlesOfParts>
    <vt:vector size="36" baseType="lpstr">
      <vt:lpstr>Arial</vt:lpstr>
      <vt:lpstr>Calibri</vt:lpstr>
      <vt:lpstr>Calibri Light</vt:lpstr>
      <vt:lpstr>Consolas</vt:lpstr>
      <vt:lpstr>Segoe UI</vt:lpstr>
      <vt:lpstr>Segoe UI Light</vt:lpstr>
      <vt:lpstr>Segoe UI Semibold</vt:lpstr>
      <vt:lpstr>Segoe UI Semilight</vt:lpstr>
      <vt:lpstr>Wingdings</vt:lpstr>
      <vt:lpstr>WHITE TEMPLATE</vt:lpstr>
      <vt:lpstr>1_MSVID_White_16x9_2012-08-18</vt:lpstr>
      <vt:lpstr>5-50109_Microsoft_Light_Template</vt:lpstr>
      <vt:lpstr>EBC_2017</vt:lpstr>
      <vt:lpstr>4_7-30269_Server &amp; Tools Business_16x9</vt:lpstr>
      <vt:lpstr>1_Office Theme</vt:lpstr>
      <vt:lpstr>1_WHITE TEMPLATE</vt:lpstr>
      <vt:lpstr>2_DARK GRAY TEMPLATE</vt:lpstr>
      <vt:lpstr>C+E Deck</vt:lpstr>
      <vt:lpstr>3_WHITE TEMPLATE</vt:lpstr>
      <vt:lpstr>1_COLOR TEMPLATE</vt:lpstr>
      <vt:lpstr>2_COLOR TEMPLATE</vt:lpstr>
      <vt:lpstr>2_WHITE TEMPLATE</vt:lpstr>
      <vt:lpstr>10_Office Theme</vt:lpstr>
      <vt:lpstr>think-cell Slide</vt:lpstr>
      <vt:lpstr>Azure Go to Market</vt:lpstr>
      <vt:lpstr>Getting Started with Azure</vt:lpstr>
      <vt:lpstr>Azure.Microsoft.com</vt:lpstr>
      <vt:lpstr>Azure Pricing Calculator https://azure.microsoft.com/en-us/pricing/calculator/</vt:lpstr>
      <vt:lpstr>Azure.Microsoft.com/Roadmap</vt:lpstr>
      <vt:lpstr>https://www.mooc-list.com/tags/microsoft-azure</vt:lpstr>
      <vt:lpstr>https://www.microsoft.com/handsonlabs</vt:lpstr>
      <vt:lpstr>Azure Sample Architectures https://azure.microsoft.com/en-us/solutions/architecture/</vt:lpstr>
      <vt:lpstr>Azure Migration Tools</vt:lpstr>
      <vt:lpstr>Microsoft Partner Network Technical Benefits Structure</vt:lpstr>
      <vt:lpstr>Microsoft Partner Technical Serv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19-02-27T04:5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57:22.552455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4f557dd-7aef-4694-9166-d2226b20ffc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